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3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5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1362" r:id="rId4"/>
    <p:sldId id="267" r:id="rId5"/>
    <p:sldId id="312" r:id="rId6"/>
    <p:sldId id="274" r:id="rId7"/>
    <p:sldId id="257" r:id="rId8"/>
    <p:sldId id="2940" r:id="rId9"/>
    <p:sldId id="1356" r:id="rId10"/>
    <p:sldId id="2939" r:id="rId11"/>
    <p:sldId id="1370" r:id="rId12"/>
  </p:sldIdLst>
  <p:sldSz cx="12192000" cy="6858000"/>
  <p:notesSz cx="6808788" cy="9940925"/>
  <p:custDataLst>
    <p:tags r:id="rId14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44CA3E86-1FEB-445D-9774-4CFAF75B2FA7}">
          <p14:sldIdLst>
            <p14:sldId id="256"/>
            <p14:sldId id="1362"/>
            <p14:sldId id="267"/>
            <p14:sldId id="312"/>
            <p14:sldId id="274"/>
            <p14:sldId id="257"/>
            <p14:sldId id="2940"/>
            <p14:sldId id="1356"/>
            <p14:sldId id="2939"/>
            <p14:sldId id="1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Жукенов Женис" initials="ЖЖ" lastIdx="1" clrIdx="0">
    <p:extLst>
      <p:ext uri="{19B8F6BF-5375-455C-9EA6-DF929625EA0E}">
        <p15:presenceInfo xmlns:p15="http://schemas.microsoft.com/office/powerpoint/2012/main" userId="S-1-5-21-3626364181-3672933622-2368393502-11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864"/>
    <a:srgbClr val="006699"/>
    <a:srgbClr val="3AB09E"/>
    <a:srgbClr val="E5F7F4"/>
    <a:srgbClr val="D6F2EE"/>
    <a:srgbClr val="295E7E"/>
    <a:srgbClr val="DDF4FF"/>
    <a:srgbClr val="006D5C"/>
    <a:srgbClr val="B9E8FF"/>
    <a:srgbClr val="F3AA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9" d="100"/>
          <a:sy n="89" d="100"/>
        </p:scale>
        <p:origin x="90" y="426"/>
      </p:cViewPr>
      <p:guideLst>
        <p:guide orient="horz" pos="2183"/>
        <p:guide pos="3840"/>
        <p:guide pos="2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440633245382585E-2"/>
          <c:y val="3.4946236559139782E-2"/>
          <c:w val="0.94511873350923481"/>
          <c:h val="0.93010752688172038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chemeClr val="tx2"/>
              </a:solidFill>
              <a:ln w="9525" algn="ctr">
                <a:solidFill>
                  <a:schemeClr val="tx2"/>
                </a:solidFill>
                <a:prstDash val="solid"/>
              </a:ln>
            </c:spPr>
          </c:marker>
          <c:xVal>
            <c:numRef>
              <c:f>Sheet1!$A$1:$C$1</c:f>
              <c:numCache>
                <c:formatCode>General</c:formatCode>
                <c:ptCount val="3"/>
                <c:pt idx="0">
                  <c:v>1966</c:v>
                </c:pt>
                <c:pt idx="1">
                  <c:v>1991</c:v>
                </c:pt>
                <c:pt idx="2">
                  <c:v>2020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C79-4DA1-BF5C-60EFBA22A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896296"/>
        <c:axId val="71896688"/>
      </c:scatterChart>
      <c:valAx>
        <c:axId val="71896296"/>
        <c:scaling>
          <c:orientation val="minMax"/>
          <c:max val="2020"/>
          <c:min val="1965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71896688"/>
        <c:crosses val="min"/>
        <c:crossBetween val="midCat"/>
      </c:valAx>
      <c:valAx>
        <c:axId val="71896688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71896296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55630936227951E-2"/>
          <c:y val="1.6347060672744419E-2"/>
          <c:w val="0.85888738127544095"/>
          <c:h val="0.9673058786545111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295E7E"/>
            </a:solidFill>
            <a:ln>
              <a:noFill/>
            </a:ln>
          </c:spPr>
          <c:invertIfNegative val="0"/>
          <c:val>
            <c:numRef>
              <c:f>Sheet1!$A$1:$P$1</c:f>
              <c:numCache>
                <c:formatCode>General</c:formatCode>
                <c:ptCount val="16"/>
                <c:pt idx="0">
                  <c:v>13</c:v>
                </c:pt>
                <c:pt idx="1">
                  <c:v>6</c:v>
                </c:pt>
                <c:pt idx="2">
                  <c:v>13</c:v>
                </c:pt>
                <c:pt idx="3">
                  <c:v>2</c:v>
                </c:pt>
                <c:pt idx="4">
                  <c:v>6</c:v>
                </c:pt>
                <c:pt idx="5">
                  <c:v>2</c:v>
                </c:pt>
                <c:pt idx="6">
                  <c:v>3</c:v>
                </c:pt>
                <c:pt idx="7">
                  <c:v>4</c:v>
                </c:pt>
                <c:pt idx="8">
                  <c:v>7.0000000000000009</c:v>
                </c:pt>
                <c:pt idx="9">
                  <c:v>7.0000000000000009</c:v>
                </c:pt>
                <c:pt idx="10">
                  <c:v>16</c:v>
                </c:pt>
                <c:pt idx="11">
                  <c:v>2</c:v>
                </c:pt>
                <c:pt idx="12">
                  <c:v>2</c:v>
                </c:pt>
                <c:pt idx="13">
                  <c:v>3</c:v>
                </c:pt>
                <c:pt idx="14">
                  <c:v>2</c:v>
                </c:pt>
                <c:pt idx="1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6B-4C2F-8944-7F9617EAC5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60452848"/>
        <c:axId val="160453240"/>
      </c:barChart>
      <c:catAx>
        <c:axId val="160452848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453240"/>
        <c:crosses val="min"/>
        <c:auto val="0"/>
        <c:lblAlgn val="ctr"/>
        <c:lblOffset val="100"/>
        <c:noMultiLvlLbl val="0"/>
      </c:catAx>
      <c:valAx>
        <c:axId val="160453240"/>
        <c:scaling>
          <c:orientation val="maxMin"/>
          <c:max val="1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0452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80113234253362E-2"/>
          <c:y val="3.5812672176308541E-2"/>
          <c:w val="0.92639773531493275"/>
          <c:h val="0.92837465564738297"/>
        </c:manualLayout>
      </c:layout>
      <c:lineChart>
        <c:grouping val="standard"/>
        <c:varyColors val="0"/>
        <c:ser>
          <c:idx val="0"/>
          <c:order val="0"/>
          <c:spPr>
            <a:ln w="9525" algn="ctr">
              <a:solidFill>
                <a:schemeClr val="accent4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tx2"/>
              </a:solidFill>
              <a:ln w="9525" algn="ctr">
                <a:solidFill>
                  <a:schemeClr val="tx2"/>
                </a:solidFill>
                <a:prstDash val="solid"/>
              </a:ln>
            </c:spPr>
          </c:marker>
          <c:dPt>
            <c:idx val="0"/>
            <c:marker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872-45B5-91A0-156852709447}"/>
              </c:ext>
            </c:extLst>
          </c:dPt>
          <c:dPt>
            <c:idx val="1"/>
            <c:marker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872-45B5-91A0-156852709447}"/>
              </c:ext>
            </c:extLst>
          </c:dPt>
          <c:dPt>
            <c:idx val="2"/>
            <c:marker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872-45B5-91A0-156852709447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4800</c:v>
                </c:pt>
                <c:pt idx="1">
                  <c:v>3394.1</c:v>
                </c:pt>
                <c:pt idx="2">
                  <c:v>24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872-45B5-91A0-156852709447}"/>
            </c:ext>
          </c:extLst>
        </c:ser>
        <c:ser>
          <c:idx val="1"/>
          <c:order val="1"/>
          <c:spPr>
            <a:ln w="9525" algn="ctr">
              <a:solidFill>
                <a:srgbClr val="3D6E81"/>
              </a:solidFill>
              <a:prstDash val="solid"/>
            </a:ln>
          </c:spPr>
          <c:marker>
            <c:symbol val="square"/>
            <c:size val="6"/>
            <c:spPr>
              <a:solidFill>
                <a:srgbClr val="3D6E81"/>
              </a:solidFill>
              <a:ln w="9525" algn="ctr">
                <a:solidFill>
                  <a:srgbClr val="3D6E81"/>
                </a:solidFill>
                <a:prstDash val="solid"/>
              </a:ln>
            </c:spPr>
          </c:marker>
          <c:val>
            <c:numRef>
              <c:f>Sheet1!$A$2:$C$2</c:f>
              <c:numCache>
                <c:formatCode>General</c:formatCode>
                <c:ptCount val="3"/>
                <c:pt idx="0">
                  <c:v>4800</c:v>
                </c:pt>
                <c:pt idx="1">
                  <c:v>2400</c:v>
                </c:pt>
                <c:pt idx="2">
                  <c:v>1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872-45B5-91A0-156852709447}"/>
            </c:ext>
          </c:extLst>
        </c:ser>
        <c:ser>
          <c:idx val="2"/>
          <c:order val="2"/>
          <c:spPr>
            <a:ln w="9525" algn="ctr">
              <a:solidFill>
                <a:srgbClr val="655939"/>
              </a:solidFill>
              <a:prstDash val="solid"/>
            </a:ln>
          </c:spPr>
          <c:marker>
            <c:symbol val="triangle"/>
            <c:size val="6"/>
            <c:spPr>
              <a:solidFill>
                <a:srgbClr val="655939"/>
              </a:solidFill>
              <a:ln w="9525" algn="ctr">
                <a:solidFill>
                  <a:srgbClr val="655939"/>
                </a:solidFill>
                <a:prstDash val="solid"/>
              </a:ln>
            </c:spPr>
          </c:marker>
          <c:val>
            <c:numRef>
              <c:f>Sheet1!$A$3:$C$3</c:f>
              <c:numCache>
                <c:formatCode>General</c:formatCode>
                <c:ptCount val="3"/>
                <c:pt idx="0">
                  <c:v>4800</c:v>
                </c:pt>
                <c:pt idx="1">
                  <c:v>1200</c:v>
                </c:pt>
                <c:pt idx="2">
                  <c:v>3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72-45B5-91A0-1568527094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897472"/>
        <c:axId val="71897864"/>
      </c:lineChart>
      <c:catAx>
        <c:axId val="71897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71897864"/>
        <c:crosses val="min"/>
        <c:auto val="0"/>
        <c:lblAlgn val="ctr"/>
        <c:lblOffset val="100"/>
        <c:noMultiLvlLbl val="0"/>
      </c:catAx>
      <c:valAx>
        <c:axId val="71897864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71897472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575461454940279E-3"/>
          <c:y val="4.8872180451127817E-2"/>
          <c:w val="0.98588490770901194"/>
          <c:h val="0.902255639097744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95E7E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0</c:v>
                </c:pt>
                <c:pt idx="1">
                  <c:v>11</c:v>
                </c:pt>
                <c:pt idx="2">
                  <c:v>35</c:v>
                </c:pt>
                <c:pt idx="3">
                  <c:v>50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A1-4296-A2B4-5C7CE66EFDA0}"/>
            </c:ext>
          </c:extLst>
        </c:ser>
        <c:ser>
          <c:idx val="1"/>
          <c:order val="1"/>
          <c:spPr>
            <a:solidFill>
              <a:srgbClr val="4E98C6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32</c:v>
                </c:pt>
                <c:pt idx="3">
                  <c:v>48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A1-4296-A2B4-5C7CE66EFDA0}"/>
            </c:ext>
          </c:extLst>
        </c:ser>
        <c:ser>
          <c:idx val="2"/>
          <c:order val="2"/>
          <c:spPr>
            <a:solidFill>
              <a:srgbClr val="8EC6A1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26</c:v>
                </c:pt>
                <c:pt idx="3">
                  <c:v>46</c:v>
                </c:pt>
                <c:pt idx="4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A1-4296-A2B4-5C7CE66EFDA0}"/>
            </c:ext>
          </c:extLst>
        </c:ser>
        <c:ser>
          <c:idx val="3"/>
          <c:order val="3"/>
          <c:spPr>
            <a:solidFill>
              <a:srgbClr val="D4DF33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3"/>
              </a:solidFill>
              <a:ln w="127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DA1-4296-A2B4-5C7CE66EFDA0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0</c:v>
                </c:pt>
                <c:pt idx="1">
                  <c:v>0.01</c:v>
                </c:pt>
                <c:pt idx="2">
                  <c:v>0</c:v>
                </c:pt>
                <c:pt idx="3">
                  <c:v>20</c:v>
                </c:pt>
                <c:pt idx="4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A1-4296-A2B4-5C7CE66EFD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3612384"/>
        <c:axId val="72213888"/>
      </c:barChart>
      <c:catAx>
        <c:axId val="163612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72213888"/>
        <c:crosses val="min"/>
        <c:auto val="0"/>
        <c:lblAlgn val="ctr"/>
        <c:lblOffset val="100"/>
        <c:noMultiLvlLbl val="0"/>
      </c:catAx>
      <c:valAx>
        <c:axId val="72213888"/>
        <c:scaling>
          <c:orientation val="minMax"/>
          <c:max val="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3612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82858855259216E-2"/>
          <c:y val="0.22595419847328244"/>
          <c:w val="0.96883428228948154"/>
          <c:h val="0.694656488549618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295E7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A10-46D4-9CD3-63569CBC4DCA}"/>
              </c:ext>
            </c:extLst>
          </c:dPt>
          <c:dPt>
            <c:idx val="12"/>
            <c:invertIfNegative val="0"/>
            <c:bubble3D val="0"/>
            <c:spPr>
              <a:solidFill>
                <a:srgbClr val="00C6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A10-46D4-9CD3-63569CBC4DCA}"/>
              </c:ext>
            </c:extLst>
          </c:dPt>
          <c:dLbls>
            <c:dLbl>
              <c:idx val="0"/>
              <c:layout>
                <c:manualLayout>
                  <c:x val="0"/>
                  <c:y val="-0.465648854961832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A10-46D4-9CD3-63569CBC4DCA}"/>
                </c:ext>
              </c:extLst>
            </c:dLbl>
            <c:dLbl>
              <c:idx val="1"/>
              <c:layout>
                <c:manualLayout>
                  <c:x val="0"/>
                  <c:y val="-0.45801526717557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10-46D4-9CD3-63569CBC4DCA}"/>
                </c:ext>
              </c:extLst>
            </c:dLbl>
            <c:dLbl>
              <c:idx val="2"/>
              <c:layout>
                <c:manualLayout>
                  <c:x val="0"/>
                  <c:y val="-0.436641221374045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A10-46D4-9CD3-63569CBC4DCA}"/>
                </c:ext>
              </c:extLst>
            </c:dLbl>
            <c:dLbl>
              <c:idx val="3"/>
              <c:layout>
                <c:manualLayout>
                  <c:x val="0"/>
                  <c:y val="-0.427480916030534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A10-46D4-9CD3-63569CBC4DCA}"/>
                </c:ext>
              </c:extLst>
            </c:dLbl>
            <c:dLbl>
              <c:idx val="4"/>
              <c:layout>
                <c:manualLayout>
                  <c:x val="0"/>
                  <c:y val="-0.3832061068702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A10-46D4-9CD3-63569CBC4DCA}"/>
                </c:ext>
              </c:extLst>
            </c:dLbl>
            <c:dLbl>
              <c:idx val="5"/>
              <c:layout>
                <c:manualLayout>
                  <c:x val="0"/>
                  <c:y val="-0.374045801526717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A10-46D4-9CD3-63569CBC4DCA}"/>
                </c:ext>
              </c:extLst>
            </c:dLbl>
            <c:dLbl>
              <c:idx val="6"/>
              <c:layout>
                <c:manualLayout>
                  <c:x val="0"/>
                  <c:y val="-0.370992366412213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A10-46D4-9CD3-63569CBC4DCA}"/>
                </c:ext>
              </c:extLst>
            </c:dLbl>
            <c:dLbl>
              <c:idx val="7"/>
              <c:layout>
                <c:manualLayout>
                  <c:x val="0"/>
                  <c:y val="-0.340458015267175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A10-46D4-9CD3-63569CBC4DCA}"/>
                </c:ext>
              </c:extLst>
            </c:dLbl>
            <c:dLbl>
              <c:idx val="8"/>
              <c:layout>
                <c:manualLayout>
                  <c:x val="0"/>
                  <c:y val="-0.308396946564885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A10-46D4-9CD3-63569CBC4DCA}"/>
                </c:ext>
              </c:extLst>
            </c:dLbl>
            <c:dLbl>
              <c:idx val="9"/>
              <c:layout>
                <c:manualLayout>
                  <c:x val="0"/>
                  <c:y val="-0.303816793893129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A10-46D4-9CD3-63569CBC4DCA}"/>
                </c:ext>
              </c:extLst>
            </c:dLbl>
            <c:dLbl>
              <c:idx val="10"/>
              <c:layout>
                <c:manualLayout>
                  <c:x val="0"/>
                  <c:y val="-0.29465648854961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A10-46D4-9CD3-63569CBC4DCA}"/>
                </c:ext>
              </c:extLst>
            </c:dLbl>
            <c:dLbl>
              <c:idx val="11"/>
              <c:layout>
                <c:manualLayout>
                  <c:x val="0"/>
                  <c:y val="-0.22137404580152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A10-46D4-9CD3-63569CBC4DCA}"/>
                </c:ext>
              </c:extLst>
            </c:dLbl>
            <c:dLbl>
              <c:idx val="12"/>
              <c:layout>
                <c:manualLayout>
                  <c:x val="0"/>
                  <c:y val="-0.207633587786259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10-46D4-9CD3-63569CBC4D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64.784995647408763</c:v>
                </c:pt>
                <c:pt idx="1">
                  <c:v>63.327695067072135</c:v>
                </c:pt>
                <c:pt idx="2">
                  <c:v>59.355541057794184</c:v>
                </c:pt>
                <c:pt idx="3">
                  <c:v>57.746351607362087</c:v>
                </c:pt>
                <c:pt idx="4">
                  <c:v>49.715772755592816</c:v>
                </c:pt>
                <c:pt idx="5">
                  <c:v>48</c:v>
                </c:pt>
                <c:pt idx="6">
                  <c:v>47.458452116161659</c:v>
                </c:pt>
                <c:pt idx="7">
                  <c:v>41.755063331413901</c:v>
                </c:pt>
                <c:pt idx="8">
                  <c:v>35.630199623685733</c:v>
                </c:pt>
                <c:pt idx="9">
                  <c:v>34.887010518197918</c:v>
                </c:pt>
                <c:pt idx="10">
                  <c:v>33</c:v>
                </c:pt>
                <c:pt idx="11">
                  <c:v>19.376526788238735</c:v>
                </c:pt>
                <c:pt idx="12">
                  <c:v>16.946070238784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A10-46D4-9CD3-63569CBC4D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2214280"/>
        <c:axId val="72214672"/>
      </c:barChart>
      <c:catAx>
        <c:axId val="72214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2214672"/>
        <c:crosses val="min"/>
        <c:auto val="0"/>
        <c:lblAlgn val="ctr"/>
        <c:lblOffset val="100"/>
        <c:noMultiLvlLbl val="0"/>
      </c:catAx>
      <c:valAx>
        <c:axId val="72214672"/>
        <c:scaling>
          <c:orientation val="minMax"/>
          <c:max val="64.7849956474087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214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4559043348281E-2"/>
          <c:y val="0.19499341238471674"/>
          <c:w val="0.96890881913303439"/>
          <c:h val="0.736495388669301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C6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656-4E36-A7A1-177DC7C899D3}"/>
              </c:ext>
            </c:extLst>
          </c:dPt>
          <c:dPt>
            <c:idx val="6"/>
            <c:invertIfNegative val="0"/>
            <c:bubble3D val="0"/>
            <c:spPr>
              <a:solidFill>
                <a:srgbClr val="2C587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656-4E36-A7A1-177DC7C899D3}"/>
              </c:ext>
            </c:extLst>
          </c:dPt>
          <c:dLbls>
            <c:dLbl>
              <c:idx val="0"/>
              <c:layout>
                <c:manualLayout>
                  <c:x val="0"/>
                  <c:y val="-0.470355731225296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656-4E36-A7A1-177DC7C899D3}"/>
                </c:ext>
              </c:extLst>
            </c:dLbl>
            <c:dLbl>
              <c:idx val="1"/>
              <c:layout>
                <c:manualLayout>
                  <c:x val="0"/>
                  <c:y val="-0.453227931488801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656-4E36-A7A1-177DC7C899D3}"/>
                </c:ext>
              </c:extLst>
            </c:dLbl>
            <c:dLbl>
              <c:idx val="2"/>
              <c:layout>
                <c:manualLayout>
                  <c:x val="0"/>
                  <c:y val="-0.438735177865612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656-4E36-A7A1-177DC7C899D3}"/>
                </c:ext>
              </c:extLst>
            </c:dLbl>
            <c:dLbl>
              <c:idx val="3"/>
              <c:layout>
                <c:manualLayout>
                  <c:x val="0"/>
                  <c:y val="-0.41633728590250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656-4E36-A7A1-177DC7C899D3}"/>
                </c:ext>
              </c:extLst>
            </c:dLbl>
            <c:dLbl>
              <c:idx val="4"/>
              <c:layout>
                <c:manualLayout>
                  <c:x val="0"/>
                  <c:y val="-0.399209486166007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656-4E36-A7A1-177DC7C899D3}"/>
                </c:ext>
              </c:extLst>
            </c:dLbl>
            <c:dLbl>
              <c:idx val="5"/>
              <c:layout>
                <c:manualLayout>
                  <c:x val="0"/>
                  <c:y val="-0.387351778656126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656-4E36-A7A1-177DC7C899D3}"/>
                </c:ext>
              </c:extLst>
            </c:dLbl>
            <c:dLbl>
              <c:idx val="6"/>
              <c:layout>
                <c:manualLayout>
                  <c:x val="0"/>
                  <c:y val="-0.378129117259552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656-4E36-A7A1-177DC7C899D3}"/>
                </c:ext>
              </c:extLst>
            </c:dLbl>
            <c:dLbl>
              <c:idx val="7"/>
              <c:layout>
                <c:manualLayout>
                  <c:x val="0"/>
                  <c:y val="-0.36890645586297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656-4E36-A7A1-177DC7C899D3}"/>
                </c:ext>
              </c:extLst>
            </c:dLbl>
            <c:dLbl>
              <c:idx val="8"/>
              <c:layout>
                <c:manualLayout>
                  <c:x val="0"/>
                  <c:y val="-0.36758893280632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656-4E36-A7A1-177DC7C899D3}"/>
                </c:ext>
              </c:extLst>
            </c:dLbl>
            <c:dLbl>
              <c:idx val="9"/>
              <c:layout>
                <c:manualLayout>
                  <c:x val="0"/>
                  <c:y val="-0.36627140974967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656-4E36-A7A1-177DC7C899D3}"/>
                </c:ext>
              </c:extLst>
            </c:dLbl>
            <c:dLbl>
              <c:idx val="10"/>
              <c:layout>
                <c:manualLayout>
                  <c:x val="0"/>
                  <c:y val="-0.359683794466403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656-4E36-A7A1-177DC7C899D3}"/>
                </c:ext>
              </c:extLst>
            </c:dLbl>
            <c:dLbl>
              <c:idx val="11"/>
              <c:layout>
                <c:manualLayout>
                  <c:x val="0"/>
                  <c:y val="-0.335968379446640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656-4E36-A7A1-177DC7C899D3}"/>
                </c:ext>
              </c:extLst>
            </c:dLbl>
            <c:dLbl>
              <c:idx val="12"/>
              <c:layout>
                <c:manualLayout>
                  <c:x val="0"/>
                  <c:y val="-0.335968379446640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656-4E36-A7A1-177DC7C899D3}"/>
                </c:ext>
              </c:extLst>
            </c:dLbl>
            <c:dLbl>
              <c:idx val="13"/>
              <c:layout>
                <c:manualLayout>
                  <c:x val="0"/>
                  <c:y val="-0.328063241106719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656-4E36-A7A1-177DC7C899D3}"/>
                </c:ext>
              </c:extLst>
            </c:dLbl>
            <c:dLbl>
              <c:idx val="14"/>
              <c:layout>
                <c:manualLayout>
                  <c:x val="0"/>
                  <c:y val="-0.325428194993412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656-4E36-A7A1-177DC7C899D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79</c:v>
                </c:pt>
                <c:pt idx="1">
                  <c:v>75.532322999999991</c:v>
                </c:pt>
                <c:pt idx="2">
                  <c:v>72.543194499999998</c:v>
                </c:pt>
                <c:pt idx="3">
                  <c:v>67.575864999999993</c:v>
                </c:pt>
                <c:pt idx="4">
                  <c:v>63.929472199999999</c:v>
                </c:pt>
                <c:pt idx="5">
                  <c:v>61.264491</c:v>
                </c:pt>
                <c:pt idx="6">
                  <c:v>59.294743400000002</c:v>
                </c:pt>
                <c:pt idx="7">
                  <c:v>57.188410100000006</c:v>
                </c:pt>
                <c:pt idx="8">
                  <c:v>57.055756299999999</c:v>
                </c:pt>
                <c:pt idx="9">
                  <c:v>56.992282400000001</c:v>
                </c:pt>
                <c:pt idx="10">
                  <c:v>55.205745</c:v>
                </c:pt>
                <c:pt idx="11">
                  <c:v>50.259509700000002</c:v>
                </c:pt>
                <c:pt idx="12">
                  <c:v>50.118729299999998</c:v>
                </c:pt>
                <c:pt idx="13">
                  <c:v>48.594447299999999</c:v>
                </c:pt>
                <c:pt idx="14">
                  <c:v>48.249824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656-4E36-A7A1-177DC7C899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2215456"/>
        <c:axId val="72215848"/>
      </c:barChart>
      <c:catAx>
        <c:axId val="72215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2215848"/>
        <c:crosses val="min"/>
        <c:auto val="0"/>
        <c:lblAlgn val="ctr"/>
        <c:lblOffset val="100"/>
        <c:noMultiLvlLbl val="0"/>
      </c:catAx>
      <c:valAx>
        <c:axId val="72215848"/>
        <c:scaling>
          <c:orientation val="minMax"/>
          <c:max val="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215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43802647412757E-2"/>
          <c:y val="5.8221872541306056E-2"/>
          <c:w val="0.96871239470517445"/>
          <c:h val="0.921321793863099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10B4B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285-4590-B46E-5C7D8D8DCCD8}"/>
              </c:ext>
            </c:extLst>
          </c:dPt>
          <c:dLbls>
            <c:dLbl>
              <c:idx val="0"/>
              <c:layout>
                <c:manualLayout>
                  <c:x val="0"/>
                  <c:y val="-0.49095200629425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85-4590-B46E-5C7D8D8DCCD8}"/>
                </c:ext>
              </c:extLst>
            </c:dLbl>
            <c:dLbl>
              <c:idx val="1"/>
              <c:layout>
                <c:manualLayout>
                  <c:x val="0"/>
                  <c:y val="-0.43351691581431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285-4590-B46E-5C7D8D8DCCD8}"/>
                </c:ext>
              </c:extLst>
            </c:dLbl>
            <c:dLbl>
              <c:idx val="2"/>
              <c:layout>
                <c:manualLayout>
                  <c:x val="0"/>
                  <c:y val="-0.40912667191188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285-4590-B46E-5C7D8D8DCCD8}"/>
                </c:ext>
              </c:extLst>
            </c:dLbl>
            <c:dLbl>
              <c:idx val="3"/>
              <c:layout>
                <c:manualLayout>
                  <c:x val="0"/>
                  <c:y val="-0.391030684500393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285-4590-B46E-5C7D8D8DCCD8}"/>
                </c:ext>
              </c:extLst>
            </c:dLbl>
            <c:dLbl>
              <c:idx val="4"/>
              <c:layout>
                <c:manualLayout>
                  <c:x val="0"/>
                  <c:y val="-0.340283241542092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285-4590-B46E-5C7D8D8DCCD8}"/>
                </c:ext>
              </c:extLst>
            </c:dLbl>
            <c:dLbl>
              <c:idx val="5"/>
              <c:layout>
                <c:manualLayout>
                  <c:x val="0"/>
                  <c:y val="-0.287175452399685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285-4590-B46E-5C7D8D8DCCD8}"/>
                </c:ext>
              </c:extLst>
            </c:dLbl>
            <c:dLbl>
              <c:idx val="6"/>
              <c:layout>
                <c:manualLayout>
                  <c:x val="0"/>
                  <c:y val="-0.22069236821400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285-4590-B46E-5C7D8D8DCCD8}"/>
                </c:ext>
              </c:extLst>
            </c:dLbl>
            <c:dLbl>
              <c:idx val="7"/>
              <c:layout>
                <c:manualLayout>
                  <c:x val="0"/>
                  <c:y val="-0.190794649881982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285-4590-B46E-5C7D8D8DCCD8}"/>
                </c:ext>
              </c:extLst>
            </c:dLbl>
            <c:dLbl>
              <c:idx val="8"/>
              <c:layout>
                <c:manualLayout>
                  <c:x val="0"/>
                  <c:y val="-0.177025963808025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285-4590-B46E-5C7D8D8DCCD8}"/>
                </c:ext>
              </c:extLst>
            </c:dLbl>
            <c:dLbl>
              <c:idx val="9"/>
              <c:layout>
                <c:manualLayout>
                  <c:x val="0"/>
                  <c:y val="-0.145161290322580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285-4590-B46E-5C7D8D8DCCD8}"/>
                </c:ext>
              </c:extLst>
            </c:dLbl>
            <c:dLbl>
              <c:idx val="10"/>
              <c:layout>
                <c:manualLayout>
                  <c:x val="0"/>
                  <c:y val="-0.130212431156569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285-4590-B46E-5C7D8D8DCCD8}"/>
                </c:ext>
              </c:extLst>
            </c:dLbl>
            <c:dLbl>
              <c:idx val="11"/>
              <c:layout>
                <c:manualLayout>
                  <c:x val="0"/>
                  <c:y val="-0.127852084972462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285-4590-B46E-5C7D8D8DCCD8}"/>
                </c:ext>
              </c:extLst>
            </c:dLbl>
            <c:dLbl>
              <c:idx val="12"/>
              <c:layout>
                <c:manualLayout>
                  <c:x val="0"/>
                  <c:y val="-0.106215578284815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85-4590-B46E-5C7D8D8DCCD8}"/>
                </c:ext>
              </c:extLst>
            </c:dLbl>
            <c:dLbl>
              <c:idx val="13"/>
              <c:layout>
                <c:manualLayout>
                  <c:x val="0"/>
                  <c:y val="-9.166011014948859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285-4590-B46E-5C7D8D8DCCD8}"/>
                </c:ext>
              </c:extLst>
            </c:dLbl>
            <c:dLbl>
              <c:idx val="14"/>
              <c:layout>
                <c:manualLayout>
                  <c:x val="0"/>
                  <c:y val="-5.42879622344610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285-4590-B46E-5C7D8D8DCC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108.92443606212314</c:v>
                </c:pt>
                <c:pt idx="1">
                  <c:v>95.340554100729335</c:v>
                </c:pt>
                <c:pt idx="2">
                  <c:v>89.567180113251851</c:v>
                </c:pt>
                <c:pt idx="3">
                  <c:v>85.285995946262375</c:v>
                </c:pt>
                <c:pt idx="4">
                  <c:v>73.365068285923627</c:v>
                </c:pt>
                <c:pt idx="5">
                  <c:v>60.717736609816924</c:v>
                </c:pt>
                <c:pt idx="6">
                  <c:v>44.9712067856169</c:v>
                </c:pt>
                <c:pt idx="7">
                  <c:v>37.970745491904388</c:v>
                </c:pt>
                <c:pt idx="8">
                  <c:v>34.63259172836031</c:v>
                </c:pt>
                <c:pt idx="9">
                  <c:v>27.105847219102635</c:v>
                </c:pt>
                <c:pt idx="10">
                  <c:v>23.6313651744595</c:v>
                </c:pt>
                <c:pt idx="11">
                  <c:v>23.129313883461045</c:v>
                </c:pt>
                <c:pt idx="12">
                  <c:v>17.948530372305683</c:v>
                </c:pt>
                <c:pt idx="13">
                  <c:v>14.520227051247975</c:v>
                </c:pt>
                <c:pt idx="14">
                  <c:v>5.68759788464526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285-4590-B46E-5C7D8D8DC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5698520"/>
        <c:axId val="75698912"/>
      </c:barChart>
      <c:catAx>
        <c:axId val="75698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5698912"/>
        <c:crosses val="min"/>
        <c:auto val="0"/>
        <c:lblAlgn val="ctr"/>
        <c:lblOffset val="100"/>
        <c:noMultiLvlLbl val="0"/>
      </c:catAx>
      <c:valAx>
        <c:axId val="75698912"/>
        <c:scaling>
          <c:orientation val="minMax"/>
          <c:max val="108.924436062123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698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81774960380349E-2"/>
          <c:y val="4.0593286494925843E-2"/>
          <c:w val="0.96703645007923933"/>
          <c:h val="0.918813427010148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28575" algn="ctr">
              <a:solidFill>
                <a:srgbClr val="FFFFFF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15E6E6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166-4805-81D7-DF876E3CE7A2}"/>
              </c:ext>
            </c:extLst>
          </c:dPt>
          <c:dPt>
            <c:idx val="8"/>
            <c:invertIfNegative val="0"/>
            <c:bubble3D val="0"/>
            <c:spPr>
              <a:solidFill>
                <a:srgbClr val="4E98C6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166-4805-81D7-DF876E3CE7A2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39.869999999999997</c:v>
                </c:pt>
                <c:pt idx="1">
                  <c:v>30.75</c:v>
                </c:pt>
                <c:pt idx="2">
                  <c:v>39.200000000000003</c:v>
                </c:pt>
                <c:pt idx="3">
                  <c:v>35.79</c:v>
                </c:pt>
                <c:pt idx="4">
                  <c:v>35.479999999999997</c:v>
                </c:pt>
                <c:pt idx="5">
                  <c:v>33.049999999999997</c:v>
                </c:pt>
                <c:pt idx="6">
                  <c:v>32.700000000000003</c:v>
                </c:pt>
                <c:pt idx="7">
                  <c:v>35.35</c:v>
                </c:pt>
                <c:pt idx="8">
                  <c:v>30.18</c:v>
                </c:pt>
                <c:pt idx="9">
                  <c:v>32.71</c:v>
                </c:pt>
                <c:pt idx="10">
                  <c:v>28.59</c:v>
                </c:pt>
                <c:pt idx="11">
                  <c:v>28.8</c:v>
                </c:pt>
                <c:pt idx="12">
                  <c:v>27.85</c:v>
                </c:pt>
                <c:pt idx="13">
                  <c:v>25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66-4805-81D7-DF876E3CE7A2}"/>
            </c:ext>
          </c:extLst>
        </c:ser>
        <c:ser>
          <c:idx val="1"/>
          <c:order val="1"/>
          <c:spPr>
            <a:solidFill>
              <a:srgbClr val="808080"/>
            </a:solidFill>
            <a:ln w="28575" algn="ctr">
              <a:solidFill>
                <a:srgbClr val="FFFFFF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10B4B4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166-4805-81D7-DF876E3CE7A2}"/>
              </c:ext>
            </c:extLst>
          </c:dPt>
          <c:dPt>
            <c:idx val="8"/>
            <c:invertIfNegative val="0"/>
            <c:bubble3D val="0"/>
            <c:spPr>
              <a:solidFill>
                <a:srgbClr val="295E7E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166-4805-81D7-DF876E3CE7A2}"/>
              </c:ext>
            </c:extLst>
          </c:dPt>
          <c:val>
            <c:numRef>
              <c:f>Sheet1!$A$2:$N$2</c:f>
              <c:numCache>
                <c:formatCode>General</c:formatCode>
                <c:ptCount val="14"/>
                <c:pt idx="0">
                  <c:v>27.759999999999998</c:v>
                </c:pt>
                <c:pt idx="1">
                  <c:v>33.56</c:v>
                </c:pt>
                <c:pt idx="2">
                  <c:v>15.030000000000001</c:v>
                </c:pt>
                <c:pt idx="3">
                  <c:v>18.369999999999997</c:v>
                </c:pt>
                <c:pt idx="4">
                  <c:v>16.47</c:v>
                </c:pt>
                <c:pt idx="5">
                  <c:v>17.600000000000001</c:v>
                </c:pt>
                <c:pt idx="6">
                  <c:v>16.329999999999998</c:v>
                </c:pt>
                <c:pt idx="7">
                  <c:v>12</c:v>
                </c:pt>
                <c:pt idx="8">
                  <c:v>16.57</c:v>
                </c:pt>
                <c:pt idx="9">
                  <c:v>10.420000000000002</c:v>
                </c:pt>
                <c:pt idx="10">
                  <c:v>13.45</c:v>
                </c:pt>
                <c:pt idx="11">
                  <c:v>12.970000000000002</c:v>
                </c:pt>
                <c:pt idx="12">
                  <c:v>9.8999999999999986</c:v>
                </c:pt>
                <c:pt idx="13">
                  <c:v>5.66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166-4805-81D7-DF876E3CE7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03824800"/>
        <c:axId val="303825192"/>
      </c:barChart>
      <c:catAx>
        <c:axId val="303824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3825192"/>
        <c:crosses val="min"/>
        <c:auto val="0"/>
        <c:lblAlgn val="ctr"/>
        <c:lblOffset val="100"/>
        <c:noMultiLvlLbl val="0"/>
      </c:catAx>
      <c:valAx>
        <c:axId val="303825192"/>
        <c:scaling>
          <c:orientation val="minMax"/>
          <c:max val="67.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3824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32595245848257E-2"/>
          <c:y val="0.12942271880819367"/>
          <c:w val="0.96613480950830344"/>
          <c:h val="0.822160148975791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28575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2C587C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8ED-46AE-B585-1E7017005977}"/>
              </c:ext>
            </c:extLst>
          </c:dPt>
          <c:dPt>
            <c:idx val="11"/>
            <c:invertIfNegative val="0"/>
            <c:bubble3D val="0"/>
            <c:spPr>
              <a:solidFill>
                <a:srgbClr val="10B4B4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8ED-46AE-B585-1E7017005977}"/>
              </c:ext>
            </c:extLst>
          </c:dPt>
          <c:dLbls>
            <c:dLbl>
              <c:idx val="0"/>
              <c:layout>
                <c:manualLayout>
                  <c:x val="0"/>
                  <c:y val="-0.478584729981378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8ED-46AE-B585-1E7017005977}"/>
                </c:ext>
              </c:extLst>
            </c:dLbl>
            <c:dLbl>
              <c:idx val="1"/>
              <c:layout>
                <c:manualLayout>
                  <c:x val="0"/>
                  <c:y val="-0.472067039106145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8ED-46AE-B585-1E7017005977}"/>
                </c:ext>
              </c:extLst>
            </c:dLbl>
            <c:dLbl>
              <c:idx val="2"/>
              <c:layout>
                <c:manualLayout>
                  <c:x val="0"/>
                  <c:y val="-0.42178770949720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8ED-46AE-B585-1E7017005977}"/>
                </c:ext>
              </c:extLst>
            </c:dLbl>
            <c:dLbl>
              <c:idx val="3"/>
              <c:layout>
                <c:manualLayout>
                  <c:x val="0"/>
                  <c:y val="-0.371508379888268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8ED-46AE-B585-1E7017005977}"/>
                </c:ext>
              </c:extLst>
            </c:dLbl>
            <c:dLbl>
              <c:idx val="4"/>
              <c:layout>
                <c:manualLayout>
                  <c:x val="0"/>
                  <c:y val="-0.356610800744878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8ED-46AE-B585-1E7017005977}"/>
                </c:ext>
              </c:extLst>
            </c:dLbl>
            <c:dLbl>
              <c:idx val="5"/>
              <c:layout>
                <c:manualLayout>
                  <c:x val="0"/>
                  <c:y val="-0.335195530726256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2C587C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ED-46AE-B585-1E7017005977}"/>
                </c:ext>
              </c:extLst>
            </c:dLbl>
            <c:dLbl>
              <c:idx val="6"/>
              <c:layout>
                <c:manualLayout>
                  <c:x val="0"/>
                  <c:y val="-0.30167597765363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8ED-46AE-B585-1E7017005977}"/>
                </c:ext>
              </c:extLst>
            </c:dLbl>
            <c:dLbl>
              <c:idx val="7"/>
              <c:layout>
                <c:manualLayout>
                  <c:x val="0"/>
                  <c:y val="-0.287709497206703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8ED-46AE-B585-1E7017005977}"/>
                </c:ext>
              </c:extLst>
            </c:dLbl>
            <c:dLbl>
              <c:idx val="8"/>
              <c:layout>
                <c:manualLayout>
                  <c:x val="0"/>
                  <c:y val="-0.279329608938547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8ED-46AE-B585-1E7017005977}"/>
                </c:ext>
              </c:extLst>
            </c:dLbl>
            <c:dLbl>
              <c:idx val="9"/>
              <c:layout>
                <c:manualLayout>
                  <c:x val="0"/>
                  <c:y val="-0.235567970204841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8ED-46AE-B585-1E7017005977}"/>
                </c:ext>
              </c:extLst>
            </c:dLbl>
            <c:dLbl>
              <c:idx val="10"/>
              <c:layout>
                <c:manualLayout>
                  <c:x val="0"/>
                  <c:y val="-0.219739292364990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8ED-46AE-B585-1E7017005977}"/>
                </c:ext>
              </c:extLst>
            </c:dLbl>
            <c:dLbl>
              <c:idx val="11"/>
              <c:layout>
                <c:manualLayout>
                  <c:x val="0"/>
                  <c:y val="-0.145251396648044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0C8585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ED-46AE-B585-1E7017005977}"/>
                </c:ext>
              </c:extLst>
            </c:dLbl>
            <c:dLbl>
              <c:idx val="12"/>
              <c:layout>
                <c:manualLayout>
                  <c:x val="0"/>
                  <c:y val="-0.132216014897579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8ED-46AE-B585-1E7017005977}"/>
                </c:ext>
              </c:extLst>
            </c:dLbl>
            <c:dLbl>
              <c:idx val="13"/>
              <c:layout>
                <c:manualLayout>
                  <c:x val="0"/>
                  <c:y val="-0.131284916201117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rgbClr val="545454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8ED-46AE-B585-1E70170059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25.539198010752102</c:v>
                </c:pt>
                <c:pt idx="1">
                  <c:v>25.157813702848301</c:v>
                </c:pt>
                <c:pt idx="2">
                  <c:v>22.042818665614199</c:v>
                </c:pt>
                <c:pt idx="3">
                  <c:v>18.9540048842332</c:v>
                </c:pt>
                <c:pt idx="4">
                  <c:v>18.000649255423099</c:v>
                </c:pt>
                <c:pt idx="5">
                  <c:v>16.700552544210002</c:v>
                </c:pt>
                <c:pt idx="6">
                  <c:v>14.5629165451374</c:v>
                </c:pt>
                <c:pt idx="7">
                  <c:v>13.7153354771265</c:v>
                </c:pt>
                <c:pt idx="8">
                  <c:v>13.218118736248602</c:v>
                </c:pt>
                <c:pt idx="9">
                  <c:v>10.4598703523586</c:v>
                </c:pt>
                <c:pt idx="10">
                  <c:v>9.4982015029025195</c:v>
                </c:pt>
                <c:pt idx="11">
                  <c:v>4.9000000000000004</c:v>
                </c:pt>
                <c:pt idx="12">
                  <c:v>4.0599046146858599</c:v>
                </c:pt>
                <c:pt idx="13">
                  <c:v>4.0337709331566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8ED-46AE-B585-1E7017005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03827152"/>
        <c:axId val="303827544"/>
      </c:barChart>
      <c:catAx>
        <c:axId val="303827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3827544"/>
        <c:crosses val="min"/>
        <c:auto val="0"/>
        <c:lblAlgn val="ctr"/>
        <c:lblOffset val="100"/>
        <c:noMultiLvlLbl val="0"/>
      </c:catAx>
      <c:valAx>
        <c:axId val="303827544"/>
        <c:scaling>
          <c:orientation val="minMax"/>
          <c:max val="25.5391980107521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38271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293447293447293"/>
          <c:y val="1.6347060672744419E-2"/>
          <c:w val="0.45413105413105415"/>
          <c:h val="0.9673058786545111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E98C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EA0B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85A-46EE-9DDA-0B3239537007}"/>
              </c:ext>
            </c:extLst>
          </c:dPt>
          <c:dPt>
            <c:idx val="1"/>
            <c:invertIfNegative val="0"/>
            <c:bubble3D val="0"/>
            <c:spPr>
              <a:solidFill>
                <a:srgbClr val="DEA0B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85A-46EE-9DDA-0B3239537007}"/>
              </c:ext>
            </c:extLst>
          </c:dPt>
          <c:dPt>
            <c:idx val="2"/>
            <c:invertIfNegative val="0"/>
            <c:bubble3D val="0"/>
            <c:spPr>
              <a:solidFill>
                <a:srgbClr val="DEA0B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85A-46EE-9DDA-0B3239537007}"/>
              </c:ext>
            </c:extLst>
          </c:dPt>
          <c:dPt>
            <c:idx val="3"/>
            <c:invertIfNegative val="0"/>
            <c:bubble3D val="0"/>
            <c:spPr>
              <a:solidFill>
                <a:srgbClr val="DEA0B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85A-46EE-9DDA-0B3239537007}"/>
              </c:ext>
            </c:extLst>
          </c:dPt>
          <c:dPt>
            <c:idx val="4"/>
            <c:invertIfNegative val="0"/>
            <c:bubble3D val="0"/>
            <c:spPr>
              <a:solidFill>
                <a:srgbClr val="DEA0B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85A-46EE-9DDA-0B3239537007}"/>
              </c:ext>
            </c:extLst>
          </c:dPt>
          <c:dPt>
            <c:idx val="13"/>
            <c:invertIfNegative val="0"/>
            <c:bubble3D val="0"/>
            <c:spPr>
              <a:solidFill>
                <a:srgbClr val="3AB09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85A-46EE-9DDA-0B3239537007}"/>
              </c:ext>
            </c:extLst>
          </c:dPt>
          <c:dPt>
            <c:idx val="14"/>
            <c:invertIfNegative val="0"/>
            <c:bubble3D val="0"/>
            <c:spPr>
              <a:solidFill>
                <a:srgbClr val="3AB09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85A-46EE-9DDA-0B3239537007}"/>
              </c:ext>
            </c:extLst>
          </c:dPt>
          <c:dPt>
            <c:idx val="15"/>
            <c:invertIfNegative val="0"/>
            <c:bubble3D val="0"/>
            <c:spPr>
              <a:solidFill>
                <a:srgbClr val="3AB09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85A-46EE-9DDA-0B3239537007}"/>
              </c:ext>
            </c:extLst>
          </c:dPt>
          <c:dLbls>
            <c:dLbl>
              <c:idx val="0"/>
              <c:layout>
                <c:manualLayout>
                  <c:x val="0.1042735042735042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85A-46EE-9DDA-0B3239537007}"/>
                </c:ext>
              </c:extLst>
            </c:dLbl>
            <c:dLbl>
              <c:idx val="1"/>
              <c:layout>
                <c:manualLayout>
                  <c:x val="0.1105413105413105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85A-46EE-9DDA-0B3239537007}"/>
                </c:ext>
              </c:extLst>
            </c:dLbl>
            <c:dLbl>
              <c:idx val="2"/>
              <c:layout>
                <c:manualLayout>
                  <c:x val="0.1133903133903133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85A-46EE-9DDA-0B3239537007}"/>
                </c:ext>
              </c:extLst>
            </c:dLbl>
            <c:dLbl>
              <c:idx val="3"/>
              <c:layout>
                <c:manualLayout>
                  <c:x val="0.1145299145299145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85A-46EE-9DDA-0B3239537007}"/>
                </c:ext>
              </c:extLst>
            </c:dLbl>
            <c:dLbl>
              <c:idx val="4"/>
              <c:layout>
                <c:manualLayout>
                  <c:x val="0.1196581196581196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85A-46EE-9DDA-0B3239537007}"/>
                </c:ext>
              </c:extLst>
            </c:dLbl>
            <c:dLbl>
              <c:idx val="5"/>
              <c:layout>
                <c:manualLayout>
                  <c:x val="0.1270655270655270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85A-46EE-9DDA-0B3239537007}"/>
                </c:ext>
              </c:extLst>
            </c:dLbl>
            <c:dLbl>
              <c:idx val="6"/>
              <c:layout>
                <c:manualLayout>
                  <c:x val="0.1447293447293447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85A-46EE-9DDA-0B3239537007}"/>
                </c:ext>
              </c:extLst>
            </c:dLbl>
            <c:dLbl>
              <c:idx val="7"/>
              <c:layout>
                <c:manualLayout>
                  <c:x val="0.1589743589743589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85A-46EE-9DDA-0B3239537007}"/>
                </c:ext>
              </c:extLst>
            </c:dLbl>
            <c:dLbl>
              <c:idx val="8"/>
              <c:layout>
                <c:manualLayout>
                  <c:x val="0.1618233618233618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85A-46EE-9DDA-0B3239537007}"/>
                </c:ext>
              </c:extLst>
            </c:dLbl>
            <c:dLbl>
              <c:idx val="9"/>
              <c:layout>
                <c:manualLayout>
                  <c:x val="0.1789173789173789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85A-46EE-9DDA-0B3239537007}"/>
                </c:ext>
              </c:extLst>
            </c:dLbl>
            <c:dLbl>
              <c:idx val="10"/>
              <c:layout>
                <c:manualLayout>
                  <c:x val="0.1794871794871794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85A-46EE-9DDA-0B3239537007}"/>
                </c:ext>
              </c:extLst>
            </c:dLbl>
            <c:dLbl>
              <c:idx val="11"/>
              <c:layout>
                <c:manualLayout>
                  <c:x val="0.1891737891737891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85A-46EE-9DDA-0B3239537007}"/>
                </c:ext>
              </c:extLst>
            </c:dLbl>
            <c:dLbl>
              <c:idx val="12"/>
              <c:layout>
                <c:manualLayout>
                  <c:x val="0.1971509971509971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85A-46EE-9DDA-0B3239537007}"/>
                </c:ext>
              </c:extLst>
            </c:dLbl>
            <c:dLbl>
              <c:idx val="13"/>
              <c:layout>
                <c:manualLayout>
                  <c:x val="0.2370370370370370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85A-46EE-9DDA-0B3239537007}"/>
                </c:ext>
              </c:extLst>
            </c:dLbl>
            <c:dLbl>
              <c:idx val="14"/>
              <c:layout>
                <c:manualLayout>
                  <c:x val="0.2575498575498575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85A-46EE-9DDA-0B3239537007}"/>
                </c:ext>
              </c:extLst>
            </c:dLbl>
            <c:dLbl>
              <c:idx val="15"/>
              <c:layout>
                <c:manualLayout>
                  <c:x val="0.316239316239316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85A-46EE-9DDA-0B32395370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P$1</c:f>
              <c:numCache>
                <c:formatCode>General</c:formatCode>
                <c:ptCount val="16"/>
                <c:pt idx="0">
                  <c:v>2211</c:v>
                </c:pt>
                <c:pt idx="1">
                  <c:v>2745</c:v>
                </c:pt>
                <c:pt idx="2">
                  <c:v>2959</c:v>
                </c:pt>
                <c:pt idx="3">
                  <c:v>3057</c:v>
                </c:pt>
                <c:pt idx="4">
                  <c:v>3465</c:v>
                </c:pt>
                <c:pt idx="5">
                  <c:v>4030</c:v>
                </c:pt>
                <c:pt idx="6">
                  <c:v>5405</c:v>
                </c:pt>
                <c:pt idx="7">
                  <c:v>6531</c:v>
                </c:pt>
                <c:pt idx="8">
                  <c:v>6768</c:v>
                </c:pt>
                <c:pt idx="9">
                  <c:v>8099</c:v>
                </c:pt>
                <c:pt idx="10">
                  <c:v>8139</c:v>
                </c:pt>
                <c:pt idx="11">
                  <c:v>8928</c:v>
                </c:pt>
                <c:pt idx="12">
                  <c:v>9556</c:v>
                </c:pt>
                <c:pt idx="13">
                  <c:v>11599</c:v>
                </c:pt>
                <c:pt idx="14">
                  <c:v>13247</c:v>
                </c:pt>
                <c:pt idx="15">
                  <c:v>17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85A-46EE-9DDA-0B3239537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03827936"/>
        <c:axId val="160452064"/>
      </c:barChart>
      <c:catAx>
        <c:axId val="3038279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452064"/>
        <c:crosses val="min"/>
        <c:auto val="0"/>
        <c:lblAlgn val="ctr"/>
        <c:lblOffset val="100"/>
        <c:noMultiLvlLbl val="0"/>
      </c:catAx>
      <c:valAx>
        <c:axId val="160452064"/>
        <c:scaling>
          <c:orientation val="minMax"/>
          <c:max val="1788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03827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51217" cy="497683"/>
          </a:xfrm>
          <a:prstGeom prst="rect">
            <a:avLst/>
          </a:prstGeom>
        </p:spPr>
        <p:txBody>
          <a:bodyPr vert="horz" lIns="91566" tIns="45783" rIns="91566" bIns="4578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981" y="2"/>
            <a:ext cx="2951217" cy="497683"/>
          </a:xfrm>
          <a:prstGeom prst="rect">
            <a:avLst/>
          </a:prstGeom>
        </p:spPr>
        <p:txBody>
          <a:bodyPr vert="horz" lIns="91566" tIns="45783" rIns="91566" bIns="45783" rtlCol="0"/>
          <a:lstStyle>
            <a:lvl1pPr algn="r">
              <a:defRPr sz="1200"/>
            </a:lvl1pPr>
          </a:lstStyle>
          <a:p>
            <a:fld id="{436C835C-2DAC-4309-A1CC-8EC9632E036D}" type="datetimeFigureOut">
              <a:rPr lang="ru-RU" smtClean="0"/>
              <a:t>25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6" tIns="45783" rIns="91566" bIns="4578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4" y="4784429"/>
            <a:ext cx="5447666" cy="3914676"/>
          </a:xfrm>
          <a:prstGeom prst="rect">
            <a:avLst/>
          </a:prstGeom>
        </p:spPr>
        <p:txBody>
          <a:bodyPr vert="horz" lIns="91566" tIns="45783" rIns="91566" bIns="4578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3246"/>
            <a:ext cx="2951217" cy="497682"/>
          </a:xfrm>
          <a:prstGeom prst="rect">
            <a:avLst/>
          </a:prstGeom>
        </p:spPr>
        <p:txBody>
          <a:bodyPr vert="horz" lIns="91566" tIns="45783" rIns="91566" bIns="4578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981" y="9443246"/>
            <a:ext cx="2951217" cy="497682"/>
          </a:xfrm>
          <a:prstGeom prst="rect">
            <a:avLst/>
          </a:prstGeom>
        </p:spPr>
        <p:txBody>
          <a:bodyPr vert="horz" lIns="91566" tIns="45783" rIns="91566" bIns="45783" rtlCol="0" anchor="b"/>
          <a:lstStyle>
            <a:lvl1pPr algn="r">
              <a:defRPr sz="1200"/>
            </a:lvl1pPr>
          </a:lstStyle>
          <a:p>
            <a:fld id="{776AE9BB-D703-417D-A0EE-77C565C073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982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4038" y="204788"/>
            <a:ext cx="8818562" cy="4960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97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20763" y="200025"/>
            <a:ext cx="8626475" cy="4852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926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01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AE9BB-D703-417D-A0EE-77C565C0735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832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4038" y="204788"/>
            <a:ext cx="8818562" cy="4960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956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4038" y="204788"/>
            <a:ext cx="8818562" cy="4960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5783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0.xml"/><Relationship Id="rId7" Type="http://schemas.openxmlformats.org/officeDocument/2006/relationships/oleObject" Target="../embeddings/oleObject5.bin"/><Relationship Id="rId2" Type="http://schemas.openxmlformats.org/officeDocument/2006/relationships/tags" Target="../tags/tag5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4.xml"/><Relationship Id="rId7" Type="http://schemas.openxmlformats.org/officeDocument/2006/relationships/oleObject" Target="../embeddings/oleObject6.bin"/><Relationship Id="rId2" Type="http://schemas.openxmlformats.org/officeDocument/2006/relationships/tags" Target="../tags/tag6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5.xml"/><Relationship Id="rId7" Type="http://schemas.openxmlformats.org/officeDocument/2006/relationships/oleObject" Target="../embeddings/oleObject9.bin"/><Relationship Id="rId2" Type="http://schemas.openxmlformats.org/officeDocument/2006/relationships/tags" Target="../tags/tag74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78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6.png"/><Relationship Id="rId2" Type="http://schemas.openxmlformats.org/officeDocument/2006/relationships/tags" Target="../tags/tag8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940B8E-2E2B-4363-8FFD-B663807FC2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EE115D2-06C5-4811-9641-77B86F1844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6557EF-E087-4531-8256-39C1D20FC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DC2E83-9054-45CC-AF83-58F6E9890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CC27B9-DEC6-45D1-8557-6F8157D6F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69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3E5219-19D8-4336-BA6F-B46D6D4CB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5F02AF-55FE-4679-9D0F-C7EBE68A22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8E6AA1A-0E60-4E24-9E85-BB483948D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B707620-8342-4033-812F-61DE5C2E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330BE7-6B42-47F4-B015-8C32EC535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19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BB05EA1-1382-4129-8C86-FAFCF63797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F1E9271-937B-4463-BEBB-522278911C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575BFE-C2D1-413E-B695-531A9C75D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3624D4F-2193-41DA-A55E-B2533F7BB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11FA98A-C327-4EBE-9862-FF713FE20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496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kk-KZ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08 Глобальные вызовы.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965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7681407" y="1164600"/>
            <a:ext cx="580573" cy="84406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7863" y="0"/>
            <a:ext cx="12218795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770806" y="1509486"/>
            <a:ext cx="7915159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 dirty="0" err="1">
              <a:solidFill>
                <a:srgbClr val="FFFFFF"/>
              </a:solidFill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707" y="1701958"/>
            <a:ext cx="902695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2547644" y="1701958"/>
            <a:ext cx="4006974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400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400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400" b="1" dirty="0">
              <a:solidFill>
                <a:srgbClr val="FFFFF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0236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21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1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815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089970" y="1457803"/>
            <a:ext cx="11288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29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775385" y="3680016"/>
            <a:ext cx="1141661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8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17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41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9CDA19-9681-4CB8-9F70-D2D70EAB8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DB813C0-DAD0-4084-A009-D87F97BF9D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CEA846A-89B9-4099-90E1-54D852F13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9656D2D-FAFC-48ED-89F7-3687CB597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426BCE-3E1A-48FC-BC55-45E42EF5C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781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84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3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07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5386" y="2680199"/>
            <a:ext cx="2442215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82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923" y="3395663"/>
            <a:ext cx="1598246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8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16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86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5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080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63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6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2FFEA74-FFED-4144-967A-66FF8B703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87DFA1C-47AC-4A6B-AEB0-B4947CFF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781293-82DC-4168-8429-92BCF7222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2DE59D-DFFC-4976-AADE-FC82A1E6A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86921C1-1C42-449E-850F-B28F3A2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5881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3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82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5475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80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09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43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9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61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62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417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8829" y="6405036"/>
            <a:ext cx="127163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099033"/>
              <a:ext cx="7283401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1. </a:t>
              </a:r>
              <a:r>
                <a:rPr lang="en-IN" sz="1000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  2. </a:t>
              </a:r>
              <a:r>
                <a:rPr lang="en-IN" sz="1000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923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0F2D34-FC84-4857-BB74-4240C1B90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B0ACB24-29C2-4A07-BAB6-577B5ADB3D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BB6E317-4263-4366-96AC-2DE89E0FE0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58956DB-BF27-4B2C-8A53-2F8A91C5C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D6B47B9-145D-4BF6-B3FF-8D3EA6115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0062CE3-F1B8-4510-B313-4158141B9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9488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7681407" y="1164600"/>
            <a:ext cx="580573" cy="84406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7863" y="0"/>
            <a:ext cx="12218795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770806" y="1509486"/>
            <a:ext cx="7915159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 dirty="0" err="1">
              <a:solidFill>
                <a:srgbClr val="FFFFFF"/>
              </a:solidFill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707" y="1701958"/>
            <a:ext cx="902695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2547644" y="1701958"/>
            <a:ext cx="4006974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400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400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400" b="1" dirty="0">
              <a:solidFill>
                <a:srgbClr val="FFFFF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1902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68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1" y="-1309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1227050"/>
            <a:ext cx="3640123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17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089969" y="1457803"/>
            <a:ext cx="1128278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05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775385" y="3682800"/>
            <a:ext cx="1141809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80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04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22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89682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61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53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958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CE9ECA-5ADB-46A2-B434-09D89C4C9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8C7B4CD-AB54-4940-9064-FF6F7A4BB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EDBB856-92D2-4579-8B5B-7B27C7A378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5E141A1-8CE1-4800-88EE-261A39CA56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547DABC-F60A-41C1-A044-7A5D8ACE79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F66EB5B-786C-45B0-B71B-D8F97B5C2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9C9D73A-208C-4BF8-BB92-4D999A9F8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BEF4057-C458-4FDE-A7FC-D139ACDCC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990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95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91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91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923" y="3395663"/>
            <a:ext cx="1598246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14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9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86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20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0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63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45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01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0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ED3EF1-6BE4-4388-AD56-90CAE0CA5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556A18-119D-4459-8166-2F41E4579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A0970C7-4288-4998-BC0C-606FA1C61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7A94EC7-B51A-48C0-B5BC-19497D35F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818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2800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2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705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711241"/>
            <a:ext cx="2738215" cy="14355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53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70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44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26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751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099033"/>
              <a:ext cx="7283401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</a:t>
              </a:r>
              <a:r>
                <a:rPr lang="en-IN" sz="10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2. </a:t>
              </a:r>
              <a:r>
                <a:rPr lang="en-IN" sz="10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81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2176156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3424806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775385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0719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0B6EDEA-63E5-48E1-855D-75740498B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820B11D-15B9-4A8B-A749-B1C3E0C0D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8D1A2C0-1CE0-4D38-8DD7-2639A4CAF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2552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089970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1089971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98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773723" y="1206001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773723" y="622800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6419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2325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2176153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3424804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775382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9425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089967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1089967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01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773723" y="1205999"/>
            <a:ext cx="1141827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773723" y="622799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5417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994224" y="-1309"/>
            <a:ext cx="9197777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7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711241"/>
            <a:ext cx="2738215" cy="14355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32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565925-ECAA-4D51-9AA7-5F2782437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3D30564-3FAE-4755-9D8A-C3B83EBED9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89EE6E8-BA94-4EE3-9F12-8DF491B53C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495EBD5-31FE-44C6-BEE8-B0E512DBB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92A2462-12F1-4025-BDBC-065121FDD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645043-827A-4CB9-AE6F-FE5B6A1D9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387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13157D-CE9A-4C8C-B2C0-B210448D2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9664046-6BDA-4CFF-AB8B-29DEC90A16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CD36BD-4C18-47DF-BCCD-1A84C0705E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DBEC7C6-B0B9-4DB6-AB21-6E6678E41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98C6EC6-80E1-43B0-8180-347ED0887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A868787-CAF7-49C0-93FB-4711103D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22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Relationship Id="rId63" Type="http://schemas.openxmlformats.org/officeDocument/2006/relationships/slideLayout" Target="../slideLayouts/slideLayout75.xml"/><Relationship Id="rId68" Type="http://schemas.openxmlformats.org/officeDocument/2006/relationships/tags" Target="../tags/tag4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61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slideLayout" Target="../slideLayouts/slideLayout72.xml"/><Relationship Id="rId6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slideLayout" Target="../slideLayouts/slideLayout76.xml"/><Relationship Id="rId69" Type="http://schemas.openxmlformats.org/officeDocument/2006/relationships/oleObject" Target="../embeddings/oleObject2.bin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Relationship Id="rId67" Type="http://schemas.openxmlformats.org/officeDocument/2006/relationships/vmlDrawing" Target="../drawings/vmlDrawing2.v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slideLayout" Target="../slideLayouts/slideLayout74.xml"/><Relationship Id="rId7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9947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67CE20-F165-4E2C-A16E-59464F4E7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21E1213-B899-4172-A70B-08438758FB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481F9F-1CC0-4E52-8811-916A5E7E2286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4B9259F-559C-4D4F-A8E0-92ECD358F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81F18CC-869B-49B2-A02B-16AA8C9C0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3279B-E996-4163-AC4C-F9C549AC8A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2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Слайд think-cell" r:id="rId69" imgW="270" imgH="270" progId="TCLayout.ActiveDocument.1">
                  <p:embed/>
                </p:oleObj>
              </mc:Choice>
              <mc:Fallback>
                <p:oleObj name="Слайд think-cell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5384" y="2080800"/>
            <a:ext cx="10642708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19297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320.xml"/><Relationship Id="rId7" Type="http://schemas.openxmlformats.org/officeDocument/2006/relationships/image" Target="../media/image1.emf"/><Relationship Id="rId2" Type="http://schemas.openxmlformats.org/officeDocument/2006/relationships/tags" Target="../tags/tag31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9" Type="http://schemas.openxmlformats.org/officeDocument/2006/relationships/image" Target="../media/image12.emf"/><Relationship Id="rId3" Type="http://schemas.openxmlformats.org/officeDocument/2006/relationships/tags" Target="../tags/tag90.xml"/><Relationship Id="rId21" Type="http://schemas.openxmlformats.org/officeDocument/2006/relationships/tags" Target="../tags/tag108.xml"/><Relationship Id="rId34" Type="http://schemas.openxmlformats.org/officeDocument/2006/relationships/tags" Target="../tags/tag121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33" Type="http://schemas.openxmlformats.org/officeDocument/2006/relationships/tags" Target="../tags/tag120.xml"/><Relationship Id="rId38" Type="http://schemas.openxmlformats.org/officeDocument/2006/relationships/oleObject" Target="../embeddings/oleObject15.bin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tags" Target="../tags/tag116.xml"/><Relationship Id="rId41" Type="http://schemas.openxmlformats.org/officeDocument/2006/relationships/chart" Target="../charts/chart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tags" Target="../tags/tag119.xml"/><Relationship Id="rId37" Type="http://schemas.openxmlformats.org/officeDocument/2006/relationships/notesSlide" Target="../notesSlides/notesSlide2.xml"/><Relationship Id="rId40" Type="http://schemas.openxmlformats.org/officeDocument/2006/relationships/chart" Target="../charts/chart1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36" Type="http://schemas.openxmlformats.org/officeDocument/2006/relationships/slideLayout" Target="../slideLayouts/slideLayout12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tags" Target="../tags/tag118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tags" Target="../tags/tag117.xml"/><Relationship Id="rId35" Type="http://schemas.openxmlformats.org/officeDocument/2006/relationships/tags" Target="../tags/tag12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42" Type="http://schemas.openxmlformats.org/officeDocument/2006/relationships/tags" Target="../tags/tag163.xml"/><Relationship Id="rId47" Type="http://schemas.openxmlformats.org/officeDocument/2006/relationships/tags" Target="../tags/tag168.xml"/><Relationship Id="rId50" Type="http://schemas.openxmlformats.org/officeDocument/2006/relationships/notesSlide" Target="../notesSlides/notesSlide3.xml"/><Relationship Id="rId55" Type="http://schemas.openxmlformats.org/officeDocument/2006/relationships/image" Target="../media/image15.png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Relationship Id="rId46" Type="http://schemas.openxmlformats.org/officeDocument/2006/relationships/tags" Target="../tags/tag167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tags" Target="../tags/tag162.xml"/><Relationship Id="rId54" Type="http://schemas.openxmlformats.org/officeDocument/2006/relationships/image" Target="../media/image14.png"/><Relationship Id="rId1" Type="http://schemas.openxmlformats.org/officeDocument/2006/relationships/vmlDrawing" Target="../drawings/vmlDrawing16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tags" Target="../tags/tag161.xml"/><Relationship Id="rId45" Type="http://schemas.openxmlformats.org/officeDocument/2006/relationships/tags" Target="../tags/tag166.xml"/><Relationship Id="rId53" Type="http://schemas.openxmlformats.org/officeDocument/2006/relationships/chart" Target="../charts/chart3.xml"/><Relationship Id="rId58" Type="http://schemas.openxmlformats.org/officeDocument/2006/relationships/image" Target="../media/image18.png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49" Type="http://schemas.openxmlformats.org/officeDocument/2006/relationships/slideLayout" Target="../slideLayouts/slideLayout12.xml"/><Relationship Id="rId57" Type="http://schemas.openxmlformats.org/officeDocument/2006/relationships/image" Target="../media/image17.png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4" Type="http://schemas.openxmlformats.org/officeDocument/2006/relationships/tags" Target="../tags/tag165.xml"/><Relationship Id="rId52" Type="http://schemas.openxmlformats.org/officeDocument/2006/relationships/image" Target="../media/image13.emf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43" Type="http://schemas.openxmlformats.org/officeDocument/2006/relationships/tags" Target="../tags/tag164.xml"/><Relationship Id="rId48" Type="http://schemas.openxmlformats.org/officeDocument/2006/relationships/tags" Target="../tags/tag169.xml"/><Relationship Id="rId56" Type="http://schemas.openxmlformats.org/officeDocument/2006/relationships/image" Target="../media/image16.png"/><Relationship Id="rId8" Type="http://schemas.openxmlformats.org/officeDocument/2006/relationships/tags" Target="../tags/tag129.xml"/><Relationship Id="rId51" Type="http://schemas.openxmlformats.org/officeDocument/2006/relationships/oleObject" Target="../embeddings/oleObject16.bin"/><Relationship Id="rId3" Type="http://schemas.openxmlformats.org/officeDocument/2006/relationships/tags" Target="../tags/tag12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26" Type="http://schemas.openxmlformats.org/officeDocument/2006/relationships/tags" Target="../tags/tag194.xml"/><Relationship Id="rId39" Type="http://schemas.openxmlformats.org/officeDocument/2006/relationships/tags" Target="../tags/tag207.xml"/><Relationship Id="rId21" Type="http://schemas.openxmlformats.org/officeDocument/2006/relationships/tags" Target="../tags/tag189.xml"/><Relationship Id="rId34" Type="http://schemas.openxmlformats.org/officeDocument/2006/relationships/tags" Target="../tags/tag202.xml"/><Relationship Id="rId42" Type="http://schemas.openxmlformats.org/officeDocument/2006/relationships/tags" Target="../tags/tag210.xml"/><Relationship Id="rId47" Type="http://schemas.openxmlformats.org/officeDocument/2006/relationships/tags" Target="../tags/tag215.xml"/><Relationship Id="rId50" Type="http://schemas.openxmlformats.org/officeDocument/2006/relationships/tags" Target="../tags/tag218.xml"/><Relationship Id="rId55" Type="http://schemas.openxmlformats.org/officeDocument/2006/relationships/image" Target="../media/image1.emf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tags" Target="../tags/tag193.xml"/><Relationship Id="rId33" Type="http://schemas.openxmlformats.org/officeDocument/2006/relationships/tags" Target="../tags/tag201.xml"/><Relationship Id="rId38" Type="http://schemas.openxmlformats.org/officeDocument/2006/relationships/tags" Target="../tags/tag206.xml"/><Relationship Id="rId46" Type="http://schemas.openxmlformats.org/officeDocument/2006/relationships/tags" Target="../tags/tag214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29" Type="http://schemas.openxmlformats.org/officeDocument/2006/relationships/tags" Target="../tags/tag197.xml"/><Relationship Id="rId41" Type="http://schemas.openxmlformats.org/officeDocument/2006/relationships/tags" Target="../tags/tag209.xml"/><Relationship Id="rId54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24" Type="http://schemas.openxmlformats.org/officeDocument/2006/relationships/tags" Target="../tags/tag192.xml"/><Relationship Id="rId32" Type="http://schemas.openxmlformats.org/officeDocument/2006/relationships/tags" Target="../tags/tag200.xml"/><Relationship Id="rId37" Type="http://schemas.openxmlformats.org/officeDocument/2006/relationships/tags" Target="../tags/tag205.xml"/><Relationship Id="rId40" Type="http://schemas.openxmlformats.org/officeDocument/2006/relationships/tags" Target="../tags/tag208.xml"/><Relationship Id="rId45" Type="http://schemas.openxmlformats.org/officeDocument/2006/relationships/tags" Target="../tags/tag213.xml"/><Relationship Id="rId53" Type="http://schemas.openxmlformats.org/officeDocument/2006/relationships/slideLayout" Target="../slideLayouts/slideLayout2.xml"/><Relationship Id="rId58" Type="http://schemas.openxmlformats.org/officeDocument/2006/relationships/chart" Target="../charts/chart6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28" Type="http://schemas.openxmlformats.org/officeDocument/2006/relationships/tags" Target="../tags/tag196.xml"/><Relationship Id="rId36" Type="http://schemas.openxmlformats.org/officeDocument/2006/relationships/tags" Target="../tags/tag204.xml"/><Relationship Id="rId49" Type="http://schemas.openxmlformats.org/officeDocument/2006/relationships/tags" Target="../tags/tag217.xml"/><Relationship Id="rId57" Type="http://schemas.openxmlformats.org/officeDocument/2006/relationships/chart" Target="../charts/chart5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31" Type="http://schemas.openxmlformats.org/officeDocument/2006/relationships/tags" Target="../tags/tag199.xml"/><Relationship Id="rId44" Type="http://schemas.openxmlformats.org/officeDocument/2006/relationships/tags" Target="../tags/tag212.xml"/><Relationship Id="rId52" Type="http://schemas.openxmlformats.org/officeDocument/2006/relationships/tags" Target="../tags/tag220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Relationship Id="rId27" Type="http://schemas.openxmlformats.org/officeDocument/2006/relationships/tags" Target="../tags/tag195.xml"/><Relationship Id="rId30" Type="http://schemas.openxmlformats.org/officeDocument/2006/relationships/tags" Target="../tags/tag198.xml"/><Relationship Id="rId35" Type="http://schemas.openxmlformats.org/officeDocument/2006/relationships/tags" Target="../tags/tag203.xml"/><Relationship Id="rId43" Type="http://schemas.openxmlformats.org/officeDocument/2006/relationships/tags" Target="../tags/tag211.xml"/><Relationship Id="rId48" Type="http://schemas.openxmlformats.org/officeDocument/2006/relationships/tags" Target="../tags/tag216.xml"/><Relationship Id="rId56" Type="http://schemas.openxmlformats.org/officeDocument/2006/relationships/chart" Target="../charts/chart4.xml"/><Relationship Id="rId8" Type="http://schemas.openxmlformats.org/officeDocument/2006/relationships/tags" Target="../tags/tag176.xml"/><Relationship Id="rId51" Type="http://schemas.openxmlformats.org/officeDocument/2006/relationships/tags" Target="../tags/tag219.xml"/><Relationship Id="rId3" Type="http://schemas.openxmlformats.org/officeDocument/2006/relationships/tags" Target="../tags/tag171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45.xml"/><Relationship Id="rId21" Type="http://schemas.openxmlformats.org/officeDocument/2006/relationships/tags" Target="../tags/tag240.xml"/><Relationship Id="rId34" Type="http://schemas.openxmlformats.org/officeDocument/2006/relationships/tags" Target="../tags/tag253.xml"/><Relationship Id="rId42" Type="http://schemas.openxmlformats.org/officeDocument/2006/relationships/tags" Target="../tags/tag261.xml"/><Relationship Id="rId47" Type="http://schemas.openxmlformats.org/officeDocument/2006/relationships/tags" Target="../tags/tag266.xml"/><Relationship Id="rId50" Type="http://schemas.openxmlformats.org/officeDocument/2006/relationships/tags" Target="../tags/tag269.xml"/><Relationship Id="rId55" Type="http://schemas.openxmlformats.org/officeDocument/2006/relationships/tags" Target="../tags/tag274.xml"/><Relationship Id="rId63" Type="http://schemas.openxmlformats.org/officeDocument/2006/relationships/tags" Target="../tags/tag282.xml"/><Relationship Id="rId68" Type="http://schemas.openxmlformats.org/officeDocument/2006/relationships/tags" Target="../tags/tag287.xml"/><Relationship Id="rId76" Type="http://schemas.openxmlformats.org/officeDocument/2006/relationships/tags" Target="../tags/tag295.xml"/><Relationship Id="rId84" Type="http://schemas.openxmlformats.org/officeDocument/2006/relationships/tags" Target="../tags/tag303.xml"/><Relationship Id="rId89" Type="http://schemas.openxmlformats.org/officeDocument/2006/relationships/tags" Target="../tags/tag308.xml"/><Relationship Id="rId97" Type="http://schemas.openxmlformats.org/officeDocument/2006/relationships/oleObject" Target="../embeddings/oleObject18.bin"/><Relationship Id="rId7" Type="http://schemas.openxmlformats.org/officeDocument/2006/relationships/tags" Target="../tags/tag226.xml"/><Relationship Id="rId71" Type="http://schemas.openxmlformats.org/officeDocument/2006/relationships/tags" Target="../tags/tag290.xml"/><Relationship Id="rId92" Type="http://schemas.openxmlformats.org/officeDocument/2006/relationships/tags" Target="../tags/tag311.xml"/><Relationship Id="rId2" Type="http://schemas.openxmlformats.org/officeDocument/2006/relationships/tags" Target="../tags/tag221.xml"/><Relationship Id="rId16" Type="http://schemas.openxmlformats.org/officeDocument/2006/relationships/tags" Target="../tags/tag235.xml"/><Relationship Id="rId29" Type="http://schemas.openxmlformats.org/officeDocument/2006/relationships/tags" Target="../tags/tag248.xml"/><Relationship Id="rId11" Type="http://schemas.openxmlformats.org/officeDocument/2006/relationships/tags" Target="../tags/tag230.xml"/><Relationship Id="rId24" Type="http://schemas.openxmlformats.org/officeDocument/2006/relationships/tags" Target="../tags/tag243.xml"/><Relationship Id="rId32" Type="http://schemas.openxmlformats.org/officeDocument/2006/relationships/tags" Target="../tags/tag251.xml"/><Relationship Id="rId37" Type="http://schemas.openxmlformats.org/officeDocument/2006/relationships/tags" Target="../tags/tag256.xml"/><Relationship Id="rId40" Type="http://schemas.openxmlformats.org/officeDocument/2006/relationships/tags" Target="../tags/tag259.xml"/><Relationship Id="rId45" Type="http://schemas.openxmlformats.org/officeDocument/2006/relationships/tags" Target="../tags/tag264.xml"/><Relationship Id="rId53" Type="http://schemas.openxmlformats.org/officeDocument/2006/relationships/tags" Target="../tags/tag272.xml"/><Relationship Id="rId58" Type="http://schemas.openxmlformats.org/officeDocument/2006/relationships/tags" Target="../tags/tag277.xml"/><Relationship Id="rId66" Type="http://schemas.openxmlformats.org/officeDocument/2006/relationships/tags" Target="../tags/tag285.xml"/><Relationship Id="rId74" Type="http://schemas.openxmlformats.org/officeDocument/2006/relationships/tags" Target="../tags/tag293.xml"/><Relationship Id="rId79" Type="http://schemas.openxmlformats.org/officeDocument/2006/relationships/tags" Target="../tags/tag298.xml"/><Relationship Id="rId87" Type="http://schemas.openxmlformats.org/officeDocument/2006/relationships/tags" Target="../tags/tag306.xml"/><Relationship Id="rId102" Type="http://schemas.openxmlformats.org/officeDocument/2006/relationships/chart" Target="../charts/chart10.xml"/><Relationship Id="rId5" Type="http://schemas.openxmlformats.org/officeDocument/2006/relationships/tags" Target="../tags/tag224.xml"/><Relationship Id="rId61" Type="http://schemas.openxmlformats.org/officeDocument/2006/relationships/tags" Target="../tags/tag280.xml"/><Relationship Id="rId82" Type="http://schemas.openxmlformats.org/officeDocument/2006/relationships/tags" Target="../tags/tag301.xml"/><Relationship Id="rId90" Type="http://schemas.openxmlformats.org/officeDocument/2006/relationships/tags" Target="../tags/tag309.xml"/><Relationship Id="rId95" Type="http://schemas.openxmlformats.org/officeDocument/2006/relationships/slideLayout" Target="../slideLayouts/slideLayout2.xml"/><Relationship Id="rId19" Type="http://schemas.openxmlformats.org/officeDocument/2006/relationships/tags" Target="../tags/tag238.xml"/><Relationship Id="rId14" Type="http://schemas.openxmlformats.org/officeDocument/2006/relationships/tags" Target="../tags/tag233.xml"/><Relationship Id="rId22" Type="http://schemas.openxmlformats.org/officeDocument/2006/relationships/tags" Target="../tags/tag241.xml"/><Relationship Id="rId27" Type="http://schemas.openxmlformats.org/officeDocument/2006/relationships/tags" Target="../tags/tag246.xml"/><Relationship Id="rId30" Type="http://schemas.openxmlformats.org/officeDocument/2006/relationships/tags" Target="../tags/tag249.xml"/><Relationship Id="rId35" Type="http://schemas.openxmlformats.org/officeDocument/2006/relationships/tags" Target="../tags/tag254.xml"/><Relationship Id="rId43" Type="http://schemas.openxmlformats.org/officeDocument/2006/relationships/tags" Target="../tags/tag262.xml"/><Relationship Id="rId48" Type="http://schemas.openxmlformats.org/officeDocument/2006/relationships/tags" Target="../tags/tag267.xml"/><Relationship Id="rId56" Type="http://schemas.openxmlformats.org/officeDocument/2006/relationships/tags" Target="../tags/tag275.xml"/><Relationship Id="rId64" Type="http://schemas.openxmlformats.org/officeDocument/2006/relationships/tags" Target="../tags/tag283.xml"/><Relationship Id="rId69" Type="http://schemas.openxmlformats.org/officeDocument/2006/relationships/tags" Target="../tags/tag288.xml"/><Relationship Id="rId77" Type="http://schemas.openxmlformats.org/officeDocument/2006/relationships/tags" Target="../tags/tag296.xml"/><Relationship Id="rId100" Type="http://schemas.openxmlformats.org/officeDocument/2006/relationships/chart" Target="../charts/chart8.xml"/><Relationship Id="rId8" Type="http://schemas.openxmlformats.org/officeDocument/2006/relationships/tags" Target="../tags/tag227.xml"/><Relationship Id="rId51" Type="http://schemas.openxmlformats.org/officeDocument/2006/relationships/tags" Target="../tags/tag270.xml"/><Relationship Id="rId72" Type="http://schemas.openxmlformats.org/officeDocument/2006/relationships/tags" Target="../tags/tag291.xml"/><Relationship Id="rId80" Type="http://schemas.openxmlformats.org/officeDocument/2006/relationships/tags" Target="../tags/tag299.xml"/><Relationship Id="rId85" Type="http://schemas.openxmlformats.org/officeDocument/2006/relationships/tags" Target="../tags/tag304.xml"/><Relationship Id="rId93" Type="http://schemas.openxmlformats.org/officeDocument/2006/relationships/tags" Target="../tags/tag312.xml"/><Relationship Id="rId98" Type="http://schemas.openxmlformats.org/officeDocument/2006/relationships/image" Target="../media/image1.emf"/><Relationship Id="rId3" Type="http://schemas.openxmlformats.org/officeDocument/2006/relationships/tags" Target="../tags/tag222.xml"/><Relationship Id="rId12" Type="http://schemas.openxmlformats.org/officeDocument/2006/relationships/tags" Target="../tags/tag231.xml"/><Relationship Id="rId17" Type="http://schemas.openxmlformats.org/officeDocument/2006/relationships/tags" Target="../tags/tag236.xml"/><Relationship Id="rId25" Type="http://schemas.openxmlformats.org/officeDocument/2006/relationships/tags" Target="../tags/tag244.xml"/><Relationship Id="rId33" Type="http://schemas.openxmlformats.org/officeDocument/2006/relationships/tags" Target="../tags/tag252.xml"/><Relationship Id="rId38" Type="http://schemas.openxmlformats.org/officeDocument/2006/relationships/tags" Target="../tags/tag257.xml"/><Relationship Id="rId46" Type="http://schemas.openxmlformats.org/officeDocument/2006/relationships/tags" Target="../tags/tag265.xml"/><Relationship Id="rId59" Type="http://schemas.openxmlformats.org/officeDocument/2006/relationships/tags" Target="../tags/tag278.xml"/><Relationship Id="rId67" Type="http://schemas.openxmlformats.org/officeDocument/2006/relationships/tags" Target="../tags/tag286.xml"/><Relationship Id="rId20" Type="http://schemas.openxmlformats.org/officeDocument/2006/relationships/tags" Target="../tags/tag239.xml"/><Relationship Id="rId41" Type="http://schemas.openxmlformats.org/officeDocument/2006/relationships/tags" Target="../tags/tag260.xml"/><Relationship Id="rId54" Type="http://schemas.openxmlformats.org/officeDocument/2006/relationships/tags" Target="../tags/tag273.xml"/><Relationship Id="rId62" Type="http://schemas.openxmlformats.org/officeDocument/2006/relationships/tags" Target="../tags/tag281.xml"/><Relationship Id="rId70" Type="http://schemas.openxmlformats.org/officeDocument/2006/relationships/tags" Target="../tags/tag289.xml"/><Relationship Id="rId75" Type="http://schemas.openxmlformats.org/officeDocument/2006/relationships/tags" Target="../tags/tag294.xml"/><Relationship Id="rId83" Type="http://schemas.openxmlformats.org/officeDocument/2006/relationships/tags" Target="../tags/tag302.xml"/><Relationship Id="rId88" Type="http://schemas.openxmlformats.org/officeDocument/2006/relationships/tags" Target="../tags/tag307.xml"/><Relationship Id="rId91" Type="http://schemas.openxmlformats.org/officeDocument/2006/relationships/tags" Target="../tags/tag310.xml"/><Relationship Id="rId96" Type="http://schemas.openxmlformats.org/officeDocument/2006/relationships/notesSlide" Target="../notesSlides/notesSlide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25.xml"/><Relationship Id="rId15" Type="http://schemas.openxmlformats.org/officeDocument/2006/relationships/tags" Target="../tags/tag234.xml"/><Relationship Id="rId23" Type="http://schemas.openxmlformats.org/officeDocument/2006/relationships/tags" Target="../tags/tag242.xml"/><Relationship Id="rId28" Type="http://schemas.openxmlformats.org/officeDocument/2006/relationships/tags" Target="../tags/tag247.xml"/><Relationship Id="rId36" Type="http://schemas.openxmlformats.org/officeDocument/2006/relationships/tags" Target="../tags/tag255.xml"/><Relationship Id="rId49" Type="http://schemas.openxmlformats.org/officeDocument/2006/relationships/tags" Target="../tags/tag268.xml"/><Relationship Id="rId57" Type="http://schemas.openxmlformats.org/officeDocument/2006/relationships/tags" Target="../tags/tag276.xml"/><Relationship Id="rId10" Type="http://schemas.openxmlformats.org/officeDocument/2006/relationships/tags" Target="../tags/tag229.xml"/><Relationship Id="rId31" Type="http://schemas.openxmlformats.org/officeDocument/2006/relationships/tags" Target="../tags/tag250.xml"/><Relationship Id="rId44" Type="http://schemas.openxmlformats.org/officeDocument/2006/relationships/tags" Target="../tags/tag263.xml"/><Relationship Id="rId52" Type="http://schemas.openxmlformats.org/officeDocument/2006/relationships/tags" Target="../tags/tag271.xml"/><Relationship Id="rId60" Type="http://schemas.openxmlformats.org/officeDocument/2006/relationships/tags" Target="../tags/tag279.xml"/><Relationship Id="rId65" Type="http://schemas.openxmlformats.org/officeDocument/2006/relationships/tags" Target="../tags/tag284.xml"/><Relationship Id="rId73" Type="http://schemas.openxmlformats.org/officeDocument/2006/relationships/tags" Target="../tags/tag292.xml"/><Relationship Id="rId78" Type="http://schemas.openxmlformats.org/officeDocument/2006/relationships/tags" Target="../tags/tag297.xml"/><Relationship Id="rId81" Type="http://schemas.openxmlformats.org/officeDocument/2006/relationships/tags" Target="../tags/tag300.xml"/><Relationship Id="rId86" Type="http://schemas.openxmlformats.org/officeDocument/2006/relationships/tags" Target="../tags/tag305.xml"/><Relationship Id="rId94" Type="http://schemas.openxmlformats.org/officeDocument/2006/relationships/tags" Target="../tags/tag313.xml"/><Relationship Id="rId99" Type="http://schemas.openxmlformats.org/officeDocument/2006/relationships/chart" Target="../charts/chart7.xml"/><Relationship Id="rId101" Type="http://schemas.openxmlformats.org/officeDocument/2006/relationships/chart" Target="../charts/chart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3" Type="http://schemas.openxmlformats.org/officeDocument/2006/relationships/tags" Target="../tags/tag232.xml"/><Relationship Id="rId18" Type="http://schemas.openxmlformats.org/officeDocument/2006/relationships/tags" Target="../tags/tag237.xml"/><Relationship Id="rId39" Type="http://schemas.openxmlformats.org/officeDocument/2006/relationships/tags" Target="../tags/tag2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7" Type="http://schemas.openxmlformats.org/officeDocument/2006/relationships/image" Target="../media/image19.png"/><Relationship Id="rId2" Type="http://schemas.openxmlformats.org/officeDocument/2006/relationships/tags" Target="../tags/tag31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31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9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1.emf"/><Relationship Id="rId2" Type="http://schemas.openxmlformats.org/officeDocument/2006/relationships/tags" Target="../tags/tag31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89125FB-60A4-49DD-B014-A4DCF3EDA5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44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Слайд think-cell" r:id="rId4" imgW="337" imgH="337" progId="TCLayout.ActiveDocument.1">
                  <p:embed/>
                </p:oleObj>
              </mc:Choice>
              <mc:Fallback>
                <p:oleObj name="Слайд think-cell" r:id="rId4" imgW="337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5FA0AC-E759-410E-938D-3CB69C13C5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49755"/>
            <a:ext cx="9144000" cy="1574799"/>
          </a:xfrm>
        </p:spPr>
        <p:txBody>
          <a:bodyPr vert="horz" anchor="ctr">
            <a:noAutofit/>
          </a:bodyPr>
          <a:lstStyle/>
          <a:p>
            <a:pPr algn="l"/>
            <a:r>
              <a:rPr lang="ru-RU" sz="32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новых подходах по переобучению и постоянному совершенствованию навыков работников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7AE576-DA99-4712-96B4-057E92CAA7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02555" y="6183094"/>
            <a:ext cx="3581400" cy="457200"/>
          </a:xfrm>
        </p:spPr>
        <p:txBody>
          <a:bodyPr anchor="ctr">
            <a:normAutofit/>
          </a:bodyPr>
          <a:lstStyle/>
          <a:p>
            <a:pPr algn="l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Нур-Султан, май 2021 года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FED0CA1-08CB-4F6B-B259-66E7C07B7B87}"/>
              </a:ext>
            </a:extLst>
          </p:cNvPr>
          <p:cNvCxnSpPr>
            <a:cxnSpLocks/>
          </p:cNvCxnSpPr>
          <p:nvPr/>
        </p:nvCxnSpPr>
        <p:spPr>
          <a:xfrm>
            <a:off x="1280700" y="4413885"/>
            <a:ext cx="10044000" cy="0"/>
          </a:xfrm>
          <a:prstGeom prst="line">
            <a:avLst/>
          </a:prstGeom>
          <a:ln>
            <a:solidFill>
              <a:srgbClr val="B9B9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BF172C0B-AEBA-4C6F-8BE0-54EA4F877648}"/>
              </a:ext>
            </a:extLst>
          </p:cNvPr>
          <p:cNvCxnSpPr>
            <a:cxnSpLocks/>
          </p:cNvCxnSpPr>
          <p:nvPr/>
        </p:nvCxnSpPr>
        <p:spPr>
          <a:xfrm>
            <a:off x="1280700" y="2951988"/>
            <a:ext cx="10044000" cy="0"/>
          </a:xfrm>
          <a:prstGeom prst="line">
            <a:avLst/>
          </a:prstGeom>
          <a:ln>
            <a:solidFill>
              <a:srgbClr val="00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9704B40-F170-4199-A9EB-C5496FF0E7D5}"/>
              </a:ext>
            </a:extLst>
          </p:cNvPr>
          <p:cNvSpPr/>
          <p:nvPr/>
        </p:nvSpPr>
        <p:spPr>
          <a:xfrm>
            <a:off x="142870" y="171595"/>
            <a:ext cx="990600" cy="6562579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0F277FE1-079E-4706-96BE-67697560A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4959" y="295461"/>
            <a:ext cx="982683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75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75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75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75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rgbClr val="006699"/>
                </a:solidFill>
                <a:latin typeface="Century Gothic" panose="020B0502020202020204" pitchFamily="34" charset="0"/>
              </a:rPr>
              <a:t>МИНИСТЕРСТВО ТРУДА И СОЦИАЛЬНОЙ ЗАЩИТЫ НАСЕЛЕНИЯ РЕСПУБЛИКИ КАЗАХСТАН</a:t>
            </a:r>
          </a:p>
        </p:txBody>
      </p:sp>
      <p:pic>
        <p:nvPicPr>
          <p:cNvPr id="8" name="Рисунок 3">
            <a:extLst>
              <a:ext uri="{FF2B5EF4-FFF2-40B4-BE49-F238E27FC236}">
                <a16:creationId xmlns:a16="http://schemas.microsoft.com/office/drawing/2014/main" id="{C4912A7D-0883-4F24-AF0D-70809681EBF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5100" y="171595"/>
            <a:ext cx="559718" cy="586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6537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1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68372" y="1025918"/>
            <a:ext cx="10108877" cy="1251729"/>
          </a:xfrm>
        </p:spPr>
        <p:txBody>
          <a:bodyPr vert="horz">
            <a:noAutofit/>
          </a:bodyPr>
          <a:lstStyle/>
          <a:p>
            <a:pPr algn="just"/>
            <a:r>
              <a:rPr lang="ru-RU" sz="2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ая система квалификаци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– это механизм, позволяющий регулировать спрос и предложение к квалификациям специалистов на рынке труда, а также позволяет обеспечить взаимодействие сфер образования и рынка труда</a:t>
            </a:r>
          </a:p>
        </p:txBody>
      </p:sp>
      <p:sp>
        <p:nvSpPr>
          <p:cNvPr id="12" name="ee4pHeader1"/>
          <p:cNvSpPr txBox="1"/>
          <p:nvPr/>
        </p:nvSpPr>
        <p:spPr>
          <a:xfrm>
            <a:off x="1150294" y="2204392"/>
            <a:ext cx="2209365" cy="40177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12264" y="2767020"/>
            <a:ext cx="9561504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Разработаны и утверждены основные элементы НСК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бновлено порядка 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36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отраслевых рамок квалификаций, утверждены                                 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58</a:t>
            </a:r>
            <a:r>
              <a:rPr lang="en-US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9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профессиональных стандартов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Сформирован Атлас новых профессий и компетенций, востребованных на рынке труда по 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9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основным отраслям, 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239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новых, 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95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трансформирующихся и </a:t>
            </a:r>
            <a:b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129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исчезающих профессий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Сформирован перечень регулируемых профессий (</a:t>
            </a:r>
            <a:r>
              <a:rPr lang="ru-RU" alt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72</a:t>
            </a:r>
            <a:r>
              <a:rPr lang="ru-RU" alt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 профессии сфер здравоохранения и финансов)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уровне ВУЗ обновлены </a:t>
            </a:r>
            <a:r>
              <a:rPr lang="ru-RU" altLang="en-US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50 </a:t>
            </a:r>
            <a:r>
              <a:rPr lang="ru-RU" alt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П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уровне ТИПО актуализированы </a:t>
            </a:r>
            <a:r>
              <a:rPr lang="ru-RU" altLang="en-US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42 </a:t>
            </a:r>
            <a:r>
              <a:rPr lang="ru-RU" alt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УП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endParaRPr lang="ru-RU" altLang="en-US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23" y="1011678"/>
            <a:ext cx="1211580" cy="1080561"/>
          </a:xfrm>
          <a:prstGeom prst="rect">
            <a:avLst/>
          </a:prstGeom>
        </p:spPr>
      </p:pic>
      <p:grpSp>
        <p:nvGrpSpPr>
          <p:cNvPr id="123" name="Google Shape;230;p7"/>
          <p:cNvGrpSpPr/>
          <p:nvPr/>
        </p:nvGrpSpPr>
        <p:grpSpPr>
          <a:xfrm>
            <a:off x="1311209" y="3800777"/>
            <a:ext cx="474991" cy="561074"/>
            <a:chOff x="8037707" y="3551722"/>
            <a:chExt cx="976190" cy="952499"/>
          </a:xfrm>
          <a:solidFill>
            <a:schemeClr val="bg1"/>
          </a:solidFill>
        </p:grpSpPr>
        <p:sp>
          <p:nvSpPr>
            <p:cNvPr id="124" name="Google Shape;231;p7"/>
            <p:cNvSpPr/>
            <p:nvPr/>
          </p:nvSpPr>
          <p:spPr>
            <a:xfrm>
              <a:off x="8037707" y="4226406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lnTo>
                    <a:pt x="714375" y="277816"/>
                  </a:lnTo>
                  <a:cubicBezTo>
                    <a:pt x="747198" y="277816"/>
                    <a:pt x="773906" y="251108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close/>
                  <a:moveTo>
                    <a:pt x="734216" y="218284"/>
                  </a:moveTo>
                  <a:cubicBezTo>
                    <a:pt x="734216" y="229238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38"/>
                    <a:pt x="39691" y="218284"/>
                  </a:cubicBezTo>
                  <a:lnTo>
                    <a:pt x="39691" y="59531"/>
                  </a:ln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5" name="Google Shape;232;p7"/>
            <p:cNvSpPr/>
            <p:nvPr/>
          </p:nvSpPr>
          <p:spPr>
            <a:xfrm>
              <a:off x="8037707" y="3551722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59531" y="277816"/>
                  </a:moveTo>
                  <a:lnTo>
                    <a:pt x="714375" y="277816"/>
                  </a:lnTo>
                  <a:cubicBezTo>
                    <a:pt x="747198" y="277816"/>
                    <a:pt x="773906" y="251117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close/>
                  <a:moveTo>
                    <a:pt x="39691" y="59531"/>
                  </a:move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ubicBezTo>
                    <a:pt x="734216" y="229229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29"/>
                    <a:pt x="39691" y="218284"/>
                  </a:cubicBezTo>
                  <a:lnTo>
                    <a:pt x="39691" y="59531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6" name="Google Shape;233;p7"/>
            <p:cNvSpPr/>
            <p:nvPr/>
          </p:nvSpPr>
          <p:spPr>
            <a:xfrm>
              <a:off x="8444237" y="3631103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7" name="Google Shape;234;p7"/>
            <p:cNvSpPr/>
            <p:nvPr/>
          </p:nvSpPr>
          <p:spPr>
            <a:xfrm>
              <a:off x="8444237" y="3710475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8" name="Google Shape;235;p7"/>
            <p:cNvSpPr/>
            <p:nvPr/>
          </p:nvSpPr>
          <p:spPr>
            <a:xfrm>
              <a:off x="8139341" y="3611253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9" name="Google Shape;236;p7"/>
            <p:cNvSpPr/>
            <p:nvPr/>
          </p:nvSpPr>
          <p:spPr>
            <a:xfrm>
              <a:off x="8119019" y="3690625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98203" y="59531"/>
                  </a:move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12"/>
                    <a:pt x="77000" y="0"/>
                    <a:pt x="49606" y="0"/>
                  </a:cubicBezTo>
                  <a:cubicBezTo>
                    <a:pt x="22212" y="0"/>
                    <a:pt x="0" y="22212"/>
                    <a:pt x="0" y="49606"/>
                  </a:cubicBezTo>
                  <a:lnTo>
                    <a:pt x="0" y="59531"/>
                  </a:lnTo>
                  <a:lnTo>
                    <a:pt x="1000" y="59531"/>
                  </a:lnTo>
                  <a:lnTo>
                    <a:pt x="98203" y="59531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0" name="Google Shape;237;p7"/>
            <p:cNvSpPr/>
            <p:nvPr/>
          </p:nvSpPr>
          <p:spPr>
            <a:xfrm>
              <a:off x="8444237" y="4305787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1" name="Google Shape;238;p7"/>
            <p:cNvSpPr/>
            <p:nvPr/>
          </p:nvSpPr>
          <p:spPr>
            <a:xfrm>
              <a:off x="8444237" y="4385159"/>
              <a:ext cx="305097" cy="39690"/>
            </a:xfrm>
            <a:custGeom>
              <a:avLst/>
              <a:gdLst/>
              <a:ahLst/>
              <a:cxnLst/>
              <a:rect l="l" t="t" r="r" b="b"/>
              <a:pathLst>
                <a:path w="297656" h="39690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91"/>
                    <a:pt x="19841" y="39691"/>
                  </a:cubicBezTo>
                  <a:lnTo>
                    <a:pt x="277806" y="39691"/>
                  </a:lnTo>
                  <a:cubicBezTo>
                    <a:pt x="288769" y="3969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2" name="Google Shape;239;p7"/>
            <p:cNvSpPr/>
            <p:nvPr/>
          </p:nvSpPr>
          <p:spPr>
            <a:xfrm>
              <a:off x="8146113" y="4285937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3" name="Google Shape;240;p7"/>
            <p:cNvSpPr/>
            <p:nvPr/>
          </p:nvSpPr>
          <p:spPr>
            <a:xfrm>
              <a:off x="8125789" y="4365318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49606" y="0"/>
                  </a:moveTo>
                  <a:cubicBezTo>
                    <a:pt x="22203" y="0"/>
                    <a:pt x="0" y="22203"/>
                    <a:pt x="0" y="49606"/>
                  </a:cubicBezTo>
                  <a:lnTo>
                    <a:pt x="0" y="59531"/>
                  </a:lnTo>
                  <a:lnTo>
                    <a:pt x="1010" y="59531"/>
                  </a:lnTo>
                  <a:lnTo>
                    <a:pt x="98212" y="59531"/>
                  </a:ln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03"/>
                    <a:pt x="77010" y="0"/>
                    <a:pt x="49606" y="0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4" name="Google Shape;241;p7"/>
            <p:cNvSpPr/>
            <p:nvPr/>
          </p:nvSpPr>
          <p:spPr>
            <a:xfrm>
              <a:off x="8464560" y="3969374"/>
              <a:ext cx="40682" cy="90535"/>
            </a:xfrm>
            <a:custGeom>
              <a:avLst/>
              <a:gdLst/>
              <a:ahLst/>
              <a:cxnLst/>
              <a:rect l="l" t="t" r="r" b="b"/>
              <a:pathLst>
                <a:path w="39690" h="90535" extrusionOk="0">
                  <a:moveTo>
                    <a:pt x="0" y="79219"/>
                  </a:moveTo>
                  <a:cubicBezTo>
                    <a:pt x="9868" y="80353"/>
                    <a:pt x="25556" y="83439"/>
                    <a:pt x="39691" y="90535"/>
                  </a:cubicBezTo>
                  <a:lnTo>
                    <a:pt x="39691" y="14849"/>
                  </a:lnTo>
                  <a:cubicBezTo>
                    <a:pt x="28299" y="5467"/>
                    <a:pt x="11039" y="1476"/>
                    <a:pt x="0" y="0"/>
                  </a:cubicBezTo>
                  <a:lnTo>
                    <a:pt x="0" y="79219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5" name="Google Shape;242;p7"/>
            <p:cNvSpPr/>
            <p:nvPr/>
          </p:nvSpPr>
          <p:spPr>
            <a:xfrm>
              <a:off x="8220643" y="3889068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641" y="0"/>
                    <a:pt x="0" y="26641"/>
                    <a:pt x="0" y="59531"/>
                  </a:cubicBezTo>
                  <a:lnTo>
                    <a:pt x="0" y="218284"/>
                  </a:lnTo>
                  <a:cubicBezTo>
                    <a:pt x="0" y="251174"/>
                    <a:pt x="26641" y="277816"/>
                    <a:pt x="59531" y="277816"/>
                  </a:cubicBezTo>
                  <a:lnTo>
                    <a:pt x="714375" y="277816"/>
                  </a:lnTo>
                  <a:cubicBezTo>
                    <a:pt x="747265" y="277816"/>
                    <a:pt x="773906" y="251174"/>
                    <a:pt x="773906" y="218284"/>
                  </a:cubicBezTo>
                  <a:lnTo>
                    <a:pt x="773906" y="59531"/>
                  </a:lnTo>
                  <a:cubicBezTo>
                    <a:pt x="773906" y="26641"/>
                    <a:pt x="747265" y="0"/>
                    <a:pt x="714375" y="0"/>
                  </a:cubicBezTo>
                  <a:close/>
                  <a:moveTo>
                    <a:pt x="128988" y="59531"/>
                  </a:moveTo>
                  <a:cubicBezTo>
                    <a:pt x="145428" y="59531"/>
                    <a:pt x="158753" y="72866"/>
                    <a:pt x="158753" y="89297"/>
                  </a:cubicBezTo>
                  <a:cubicBezTo>
                    <a:pt x="158753" y="105737"/>
                    <a:pt x="145428" y="119063"/>
                    <a:pt x="128988" y="119063"/>
                  </a:cubicBezTo>
                  <a:cubicBezTo>
                    <a:pt x="112557" y="119063"/>
                    <a:pt x="99222" y="105737"/>
                    <a:pt x="99222" y="89297"/>
                  </a:cubicBezTo>
                  <a:cubicBezTo>
                    <a:pt x="99222" y="72857"/>
                    <a:pt x="112547" y="59531"/>
                    <a:pt x="128988" y="59531"/>
                  </a:cubicBezTo>
                  <a:close/>
                  <a:moveTo>
                    <a:pt x="178594" y="198434"/>
                  </a:moveTo>
                  <a:lnTo>
                    <a:pt x="177584" y="198434"/>
                  </a:lnTo>
                  <a:lnTo>
                    <a:pt x="80381" y="198434"/>
                  </a:lnTo>
                  <a:lnTo>
                    <a:pt x="79381" y="198434"/>
                  </a:lnTo>
                  <a:lnTo>
                    <a:pt x="79381" y="188509"/>
                  </a:lnTo>
                  <a:cubicBezTo>
                    <a:pt x="79381" y="161115"/>
                    <a:pt x="101594" y="138903"/>
                    <a:pt x="128988" y="138903"/>
                  </a:cubicBezTo>
                  <a:cubicBezTo>
                    <a:pt x="156391" y="138903"/>
                    <a:pt x="178594" y="161115"/>
                    <a:pt x="178594" y="188509"/>
                  </a:cubicBezTo>
                  <a:lnTo>
                    <a:pt x="178594" y="198434"/>
                  </a:lnTo>
                  <a:close/>
                  <a:moveTo>
                    <a:pt x="357188" y="168669"/>
                  </a:moveTo>
                  <a:cubicBezTo>
                    <a:pt x="357188" y="174050"/>
                    <a:pt x="352892" y="178460"/>
                    <a:pt x="347491" y="178594"/>
                  </a:cubicBezTo>
                  <a:cubicBezTo>
                    <a:pt x="312715" y="179441"/>
                    <a:pt x="295427" y="195853"/>
                    <a:pt x="294684" y="196548"/>
                  </a:cubicBezTo>
                  <a:cubicBezTo>
                    <a:pt x="294513" y="196739"/>
                    <a:pt x="294284" y="196767"/>
                    <a:pt x="294113" y="196929"/>
                  </a:cubicBezTo>
                  <a:cubicBezTo>
                    <a:pt x="293313" y="197615"/>
                    <a:pt x="292437" y="198244"/>
                    <a:pt x="291455" y="198644"/>
                  </a:cubicBezTo>
                  <a:cubicBezTo>
                    <a:pt x="290989" y="198844"/>
                    <a:pt x="290493" y="198834"/>
                    <a:pt x="290017" y="198939"/>
                  </a:cubicBezTo>
                  <a:cubicBezTo>
                    <a:pt x="289255" y="199139"/>
                    <a:pt x="288550" y="199406"/>
                    <a:pt x="287731" y="199406"/>
                  </a:cubicBezTo>
                  <a:cubicBezTo>
                    <a:pt x="286979" y="199406"/>
                    <a:pt x="286312" y="199139"/>
                    <a:pt x="285607" y="198977"/>
                  </a:cubicBezTo>
                  <a:cubicBezTo>
                    <a:pt x="285055" y="198863"/>
                    <a:pt x="284493" y="198863"/>
                    <a:pt x="283959" y="198644"/>
                  </a:cubicBezTo>
                  <a:cubicBezTo>
                    <a:pt x="282731" y="198149"/>
                    <a:pt x="281635" y="197406"/>
                    <a:pt x="280711" y="196501"/>
                  </a:cubicBezTo>
                  <a:cubicBezTo>
                    <a:pt x="263957" y="179756"/>
                    <a:pt x="228305" y="178594"/>
                    <a:pt x="227933" y="178594"/>
                  </a:cubicBezTo>
                  <a:cubicBezTo>
                    <a:pt x="222571" y="178432"/>
                    <a:pt x="218265" y="174041"/>
                    <a:pt x="218265" y="168669"/>
                  </a:cubicBezTo>
                  <a:lnTo>
                    <a:pt x="218265" y="69447"/>
                  </a:lnTo>
                  <a:cubicBezTo>
                    <a:pt x="218265" y="66770"/>
                    <a:pt x="219351" y="64218"/>
                    <a:pt x="221247" y="62351"/>
                  </a:cubicBezTo>
                  <a:cubicBezTo>
                    <a:pt x="223171" y="60493"/>
                    <a:pt x="225828" y="59636"/>
                    <a:pt x="228419" y="59522"/>
                  </a:cubicBezTo>
                  <a:cubicBezTo>
                    <a:pt x="230048" y="59560"/>
                    <a:pt x="264747" y="60627"/>
                    <a:pt x="287922" y="77448"/>
                  </a:cubicBezTo>
                  <a:cubicBezTo>
                    <a:pt x="297742" y="70666"/>
                    <a:pt x="317459" y="60236"/>
                    <a:pt x="347015" y="59522"/>
                  </a:cubicBezTo>
                  <a:cubicBezTo>
                    <a:pt x="349891" y="59579"/>
                    <a:pt x="352263" y="60493"/>
                    <a:pt x="354187" y="62351"/>
                  </a:cubicBezTo>
                  <a:cubicBezTo>
                    <a:pt x="356083" y="64208"/>
                    <a:pt x="357168" y="66770"/>
                    <a:pt x="357168" y="69447"/>
                  </a:cubicBezTo>
                  <a:lnTo>
                    <a:pt x="357168" y="168669"/>
                  </a:lnTo>
                  <a:close/>
                  <a:moveTo>
                    <a:pt x="674684" y="198434"/>
                  </a:moveTo>
                  <a:lnTo>
                    <a:pt x="416719" y="198434"/>
                  </a:lnTo>
                  <a:cubicBezTo>
                    <a:pt x="405755" y="198434"/>
                    <a:pt x="396878" y="189557"/>
                    <a:pt x="396878" y="178594"/>
                  </a:cubicBezTo>
                  <a:cubicBezTo>
                    <a:pt x="396878" y="167630"/>
                    <a:pt x="405755" y="158744"/>
                    <a:pt x="416719" y="158744"/>
                  </a:cubicBezTo>
                  <a:lnTo>
                    <a:pt x="674684" y="158744"/>
                  </a:lnTo>
                  <a:cubicBezTo>
                    <a:pt x="685648" y="158744"/>
                    <a:pt x="694534" y="167630"/>
                    <a:pt x="694534" y="178594"/>
                  </a:cubicBezTo>
                  <a:cubicBezTo>
                    <a:pt x="694534" y="189557"/>
                    <a:pt x="685648" y="198434"/>
                    <a:pt x="674684" y="198434"/>
                  </a:cubicBezTo>
                  <a:close/>
                  <a:moveTo>
                    <a:pt x="674684" y="119063"/>
                  </a:moveTo>
                  <a:lnTo>
                    <a:pt x="416719" y="119063"/>
                  </a:lnTo>
                  <a:cubicBezTo>
                    <a:pt x="405755" y="119063"/>
                    <a:pt x="396878" y="110185"/>
                    <a:pt x="396878" y="99222"/>
                  </a:cubicBezTo>
                  <a:cubicBezTo>
                    <a:pt x="396878" y="88249"/>
                    <a:pt x="405755" y="79381"/>
                    <a:pt x="416719" y="79381"/>
                  </a:cubicBezTo>
                  <a:lnTo>
                    <a:pt x="674684" y="79381"/>
                  </a:lnTo>
                  <a:cubicBezTo>
                    <a:pt x="685648" y="79381"/>
                    <a:pt x="694534" y="88259"/>
                    <a:pt x="694534" y="99222"/>
                  </a:cubicBezTo>
                  <a:cubicBezTo>
                    <a:pt x="694534" y="110185"/>
                    <a:pt x="685648" y="119063"/>
                    <a:pt x="674684" y="119063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6" name="Google Shape;243;p7"/>
            <p:cNvSpPr/>
            <p:nvPr/>
          </p:nvSpPr>
          <p:spPr>
            <a:xfrm>
              <a:off x="8525540" y="3969155"/>
              <a:ext cx="40682" cy="90868"/>
            </a:xfrm>
            <a:custGeom>
              <a:avLst/>
              <a:gdLst/>
              <a:ahLst/>
              <a:cxnLst/>
              <a:rect l="l" t="t" r="r" b="b"/>
              <a:pathLst>
                <a:path w="39690" h="90868" extrusionOk="0">
                  <a:moveTo>
                    <a:pt x="0" y="90869"/>
                  </a:moveTo>
                  <a:cubicBezTo>
                    <a:pt x="9382" y="85982"/>
                    <a:pt x="22498" y="80982"/>
                    <a:pt x="39691" y="79248"/>
                  </a:cubicBezTo>
                  <a:lnTo>
                    <a:pt x="39691" y="0"/>
                  </a:lnTo>
                  <a:cubicBezTo>
                    <a:pt x="18631" y="2505"/>
                    <a:pt x="5505" y="10639"/>
                    <a:pt x="0" y="14783"/>
                  </a:cubicBezTo>
                  <a:lnTo>
                    <a:pt x="0" y="90869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7" name="Google Shape;244;p7"/>
            <p:cNvSpPr/>
            <p:nvPr/>
          </p:nvSpPr>
          <p:spPr>
            <a:xfrm>
              <a:off x="8261319" y="3610281"/>
              <a:ext cx="142365" cy="139884"/>
            </a:xfrm>
            <a:custGeom>
              <a:avLst/>
              <a:gdLst/>
              <a:ahLst/>
              <a:cxnLst/>
              <a:rect l="l" t="t" r="r" b="b"/>
              <a:pathLst>
                <a:path w="138893" h="139884" extrusionOk="0">
                  <a:moveTo>
                    <a:pt x="9639" y="119063"/>
                  </a:moveTo>
                  <a:cubicBezTo>
                    <a:pt x="10001" y="119063"/>
                    <a:pt x="45663" y="120225"/>
                    <a:pt x="62417" y="136970"/>
                  </a:cubicBezTo>
                  <a:cubicBezTo>
                    <a:pt x="63341" y="137884"/>
                    <a:pt x="64437" y="138617"/>
                    <a:pt x="65665" y="139122"/>
                  </a:cubicBezTo>
                  <a:cubicBezTo>
                    <a:pt x="66208" y="139332"/>
                    <a:pt x="66761" y="139332"/>
                    <a:pt x="67313" y="139456"/>
                  </a:cubicBezTo>
                  <a:cubicBezTo>
                    <a:pt x="68009" y="139608"/>
                    <a:pt x="68685" y="139884"/>
                    <a:pt x="69437" y="139884"/>
                  </a:cubicBezTo>
                  <a:cubicBezTo>
                    <a:pt x="70247" y="139884"/>
                    <a:pt x="70961" y="139608"/>
                    <a:pt x="71723" y="139417"/>
                  </a:cubicBezTo>
                  <a:cubicBezTo>
                    <a:pt x="72200" y="139303"/>
                    <a:pt x="72695" y="139322"/>
                    <a:pt x="73162" y="139122"/>
                  </a:cubicBezTo>
                  <a:cubicBezTo>
                    <a:pt x="74143" y="138722"/>
                    <a:pt x="75019" y="138093"/>
                    <a:pt x="75819" y="137398"/>
                  </a:cubicBezTo>
                  <a:cubicBezTo>
                    <a:pt x="75991" y="137246"/>
                    <a:pt x="76219" y="137208"/>
                    <a:pt x="76391" y="137027"/>
                  </a:cubicBezTo>
                  <a:cubicBezTo>
                    <a:pt x="77143" y="136331"/>
                    <a:pt x="94431" y="119920"/>
                    <a:pt x="129207" y="119063"/>
                  </a:cubicBezTo>
                  <a:cubicBezTo>
                    <a:pt x="134588" y="118920"/>
                    <a:pt x="138894" y="114529"/>
                    <a:pt x="138894" y="109137"/>
                  </a:cubicBezTo>
                  <a:lnTo>
                    <a:pt x="138894" y="9925"/>
                  </a:lnTo>
                  <a:cubicBezTo>
                    <a:pt x="138894" y="7249"/>
                    <a:pt x="137808" y="4696"/>
                    <a:pt x="135912" y="2829"/>
                  </a:cubicBezTo>
                  <a:cubicBezTo>
                    <a:pt x="133988" y="972"/>
                    <a:pt x="131607" y="57"/>
                    <a:pt x="128749" y="0"/>
                  </a:cubicBezTo>
                  <a:cubicBezTo>
                    <a:pt x="99184" y="714"/>
                    <a:pt x="79477" y="11144"/>
                    <a:pt x="69656" y="17926"/>
                  </a:cubicBezTo>
                  <a:cubicBezTo>
                    <a:pt x="46482" y="1105"/>
                    <a:pt x="11782" y="38"/>
                    <a:pt x="10154" y="0"/>
                  </a:cubicBezTo>
                  <a:cubicBezTo>
                    <a:pt x="7572" y="114"/>
                    <a:pt x="4905" y="972"/>
                    <a:pt x="2981" y="2829"/>
                  </a:cubicBezTo>
                  <a:cubicBezTo>
                    <a:pt x="1086" y="468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-19" y="114510"/>
                    <a:pt x="4277" y="118910"/>
                    <a:pt x="9639" y="119063"/>
                  </a:cubicBezTo>
                  <a:close/>
                  <a:moveTo>
                    <a:pt x="79353" y="35347"/>
                  </a:moveTo>
                  <a:cubicBezTo>
                    <a:pt x="84858" y="31194"/>
                    <a:pt x="97984" y="23060"/>
                    <a:pt x="119044" y="20555"/>
                  </a:cubicBezTo>
                  <a:lnTo>
                    <a:pt x="119044" y="99812"/>
                  </a:lnTo>
                  <a:cubicBezTo>
                    <a:pt x="101860" y="101537"/>
                    <a:pt x="88735" y="106537"/>
                    <a:pt x="79353" y="111423"/>
                  </a:cubicBezTo>
                  <a:lnTo>
                    <a:pt x="79353" y="35347"/>
                  </a:lnTo>
                  <a:close/>
                  <a:moveTo>
                    <a:pt x="19822" y="20774"/>
                  </a:moveTo>
                  <a:cubicBezTo>
                    <a:pt x="30852" y="22250"/>
                    <a:pt x="48111" y="26241"/>
                    <a:pt x="59512" y="35623"/>
                  </a:cubicBezTo>
                  <a:lnTo>
                    <a:pt x="59512" y="111319"/>
                  </a:lnTo>
                  <a:cubicBezTo>
                    <a:pt x="45377" y="104223"/>
                    <a:pt x="29699" y="101146"/>
                    <a:pt x="19822" y="100003"/>
                  </a:cubicBezTo>
                  <a:lnTo>
                    <a:pt x="19822" y="20774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8" name="Google Shape;245;p7"/>
            <p:cNvSpPr/>
            <p:nvPr/>
          </p:nvSpPr>
          <p:spPr>
            <a:xfrm>
              <a:off x="8261300" y="4285937"/>
              <a:ext cx="142395" cy="139884"/>
            </a:xfrm>
            <a:custGeom>
              <a:avLst/>
              <a:gdLst/>
              <a:ahLst/>
              <a:cxnLst/>
              <a:rect l="l" t="t" r="r" b="b"/>
              <a:pathLst>
                <a:path w="138922" h="139884" extrusionOk="0">
                  <a:moveTo>
                    <a:pt x="128749" y="0"/>
                  </a:moveTo>
                  <a:cubicBezTo>
                    <a:pt x="99184" y="724"/>
                    <a:pt x="79477" y="11144"/>
                    <a:pt x="69656" y="17936"/>
                  </a:cubicBezTo>
                  <a:cubicBezTo>
                    <a:pt x="46482" y="1114"/>
                    <a:pt x="11782" y="48"/>
                    <a:pt x="10154" y="0"/>
                  </a:cubicBezTo>
                  <a:cubicBezTo>
                    <a:pt x="7572" y="124"/>
                    <a:pt x="4905" y="981"/>
                    <a:pt x="2981" y="2838"/>
                  </a:cubicBezTo>
                  <a:cubicBezTo>
                    <a:pt x="1086" y="469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0" y="114510"/>
                    <a:pt x="4305" y="118910"/>
                    <a:pt x="9668" y="119063"/>
                  </a:cubicBezTo>
                  <a:cubicBezTo>
                    <a:pt x="10030" y="119063"/>
                    <a:pt x="45691" y="120225"/>
                    <a:pt x="62446" y="136969"/>
                  </a:cubicBezTo>
                  <a:cubicBezTo>
                    <a:pt x="63370" y="137884"/>
                    <a:pt x="64465" y="138627"/>
                    <a:pt x="65694" y="139122"/>
                  </a:cubicBezTo>
                  <a:cubicBezTo>
                    <a:pt x="66237" y="139332"/>
                    <a:pt x="66789" y="139332"/>
                    <a:pt x="67342" y="139456"/>
                  </a:cubicBezTo>
                  <a:cubicBezTo>
                    <a:pt x="68037" y="139617"/>
                    <a:pt x="68713" y="139884"/>
                    <a:pt x="69466" y="139884"/>
                  </a:cubicBezTo>
                  <a:cubicBezTo>
                    <a:pt x="70275" y="139884"/>
                    <a:pt x="70990" y="139617"/>
                    <a:pt x="71752" y="139417"/>
                  </a:cubicBezTo>
                  <a:cubicBezTo>
                    <a:pt x="72228" y="139294"/>
                    <a:pt x="72723" y="139322"/>
                    <a:pt x="73190" y="139122"/>
                  </a:cubicBezTo>
                  <a:cubicBezTo>
                    <a:pt x="74171" y="138722"/>
                    <a:pt x="75047" y="138103"/>
                    <a:pt x="75848" y="137398"/>
                  </a:cubicBezTo>
                  <a:cubicBezTo>
                    <a:pt x="76019" y="137246"/>
                    <a:pt x="76248" y="137198"/>
                    <a:pt x="76419" y="137027"/>
                  </a:cubicBezTo>
                  <a:cubicBezTo>
                    <a:pt x="77172" y="136331"/>
                    <a:pt x="94459" y="119920"/>
                    <a:pt x="129235" y="119063"/>
                  </a:cubicBezTo>
                  <a:cubicBezTo>
                    <a:pt x="134617" y="118929"/>
                    <a:pt x="138922" y="114529"/>
                    <a:pt x="138922" y="109147"/>
                  </a:cubicBezTo>
                  <a:lnTo>
                    <a:pt x="138922" y="9925"/>
                  </a:lnTo>
                  <a:cubicBezTo>
                    <a:pt x="138922" y="7249"/>
                    <a:pt x="137836" y="4696"/>
                    <a:pt x="135941" y="2838"/>
                  </a:cubicBezTo>
                  <a:cubicBezTo>
                    <a:pt x="133988" y="981"/>
                    <a:pt x="131616" y="57"/>
                    <a:pt x="128749" y="0"/>
                  </a:cubicBezTo>
                  <a:close/>
                  <a:moveTo>
                    <a:pt x="59531" y="111319"/>
                  </a:moveTo>
                  <a:cubicBezTo>
                    <a:pt x="45396" y="104232"/>
                    <a:pt x="29718" y="101146"/>
                    <a:pt x="19841" y="100003"/>
                  </a:cubicBezTo>
                  <a:lnTo>
                    <a:pt x="19841" y="20793"/>
                  </a:lnTo>
                  <a:cubicBezTo>
                    <a:pt x="30871" y="22260"/>
                    <a:pt x="48130" y="26251"/>
                    <a:pt x="59531" y="35633"/>
                  </a:cubicBezTo>
                  <a:lnTo>
                    <a:pt x="59531" y="111319"/>
                  </a:lnTo>
                  <a:close/>
                  <a:moveTo>
                    <a:pt x="119063" y="99812"/>
                  </a:moveTo>
                  <a:cubicBezTo>
                    <a:pt x="101879" y="101546"/>
                    <a:pt x="88754" y="106547"/>
                    <a:pt x="79372" y="111423"/>
                  </a:cubicBezTo>
                  <a:lnTo>
                    <a:pt x="79372" y="35347"/>
                  </a:lnTo>
                  <a:cubicBezTo>
                    <a:pt x="84877" y="31204"/>
                    <a:pt x="98003" y="23060"/>
                    <a:pt x="119063" y="20564"/>
                  </a:cubicBezTo>
                  <a:lnTo>
                    <a:pt x="119063" y="99812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07CAC884-9F7C-4A2E-AEA6-9EF9975D893A}"/>
              </a:ext>
            </a:extLst>
          </p:cNvPr>
          <p:cNvSpPr txBox="1"/>
          <p:nvPr/>
        </p:nvSpPr>
        <p:spPr>
          <a:xfrm>
            <a:off x="11268064" y="221338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8" name="Заголовок 1">
            <a:extLst>
              <a:ext uri="{FF2B5EF4-FFF2-40B4-BE49-F238E27FC236}">
                <a16:creationId xmlns:a16="http://schemas.microsoft.com/office/drawing/2014/main" id="{5A38E7F7-A4B4-426C-8209-06F9CB9B52C3}"/>
              </a:ext>
            </a:extLst>
          </p:cNvPr>
          <p:cNvSpPr txBox="1">
            <a:spLocks/>
          </p:cNvSpPr>
          <p:nvPr/>
        </p:nvSpPr>
        <p:spPr>
          <a:xfrm>
            <a:off x="466165" y="289308"/>
            <a:ext cx="11253500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ru-RU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ая система </a:t>
            </a: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каций</a:t>
            </a: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0BE1EA62-6585-4D1C-9593-99D1CEBA3369}"/>
              </a:ext>
            </a:extLst>
          </p:cNvPr>
          <p:cNvCxnSpPr>
            <a:cxnSpLocks/>
          </p:cNvCxnSpPr>
          <p:nvPr/>
        </p:nvCxnSpPr>
        <p:spPr>
          <a:xfrm>
            <a:off x="1786200" y="2277647"/>
            <a:ext cx="9561504" cy="0"/>
          </a:xfrm>
          <a:prstGeom prst="line">
            <a:avLst/>
          </a:prstGeom>
          <a:ln>
            <a:solidFill>
              <a:srgbClr val="2488A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5" y="6492875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8120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019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ee4pContent3"/>
          <p:cNvSpPr txBox="1"/>
          <p:nvPr/>
        </p:nvSpPr>
        <p:spPr>
          <a:xfrm>
            <a:off x="6633869" y="1612985"/>
            <a:ext cx="5088651" cy="132649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2035 г. — автоматизация 1/3 работы, что существенно затронет 3/4 рабочих мест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 нехватки навыков в профессиях, в меньшей степени затронутых автоматизацией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Ослабление взаимосвязи заработной платы и производительности</a:t>
            </a:r>
          </a:p>
          <a:p>
            <a:pPr>
              <a:lnSpc>
                <a:spcPct val="90000"/>
              </a:lnSpc>
              <a:spcAft>
                <a:spcPts val="500"/>
              </a:spcAft>
              <a:buNone/>
            </a:pPr>
            <a:endParaRPr lang="en-US" sz="1300" dirty="0">
              <a:latin typeface="Arial" panose="020B0604020202020204" pitchFamily="34" charset="0"/>
            </a:endParaRPr>
          </a:p>
        </p:txBody>
      </p:sp>
      <p:sp>
        <p:nvSpPr>
          <p:cNvPr id="18" name="ee4pHeader3"/>
          <p:cNvSpPr txBox="1"/>
          <p:nvPr/>
        </p:nvSpPr>
        <p:spPr>
          <a:xfrm>
            <a:off x="6522940" y="1119942"/>
            <a:ext cx="5199582" cy="4259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dirty="0">
                <a:solidFill>
                  <a:srgbClr val="295E7E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роблемы</a:t>
            </a:r>
          </a:p>
        </p:txBody>
      </p:sp>
      <p:sp>
        <p:nvSpPr>
          <p:cNvPr id="12" name="ee4pHeader1"/>
          <p:cNvSpPr txBox="1"/>
          <p:nvPr/>
        </p:nvSpPr>
        <p:spPr>
          <a:xfrm>
            <a:off x="602667" y="1119942"/>
            <a:ext cx="2209365" cy="43626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dirty="0">
                <a:solidFill>
                  <a:srgbClr val="295E7E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ые вызовы</a:t>
            </a:r>
          </a:p>
        </p:txBody>
      </p:sp>
      <p:sp>
        <p:nvSpPr>
          <p:cNvPr id="24" name="ee4pHeader2"/>
          <p:cNvSpPr txBox="1"/>
          <p:nvPr/>
        </p:nvSpPr>
        <p:spPr>
          <a:xfrm>
            <a:off x="3660785" y="1115052"/>
            <a:ext cx="2236672" cy="4343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dirty="0" err="1">
                <a:solidFill>
                  <a:srgbClr val="295E7E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тренды</a:t>
            </a:r>
            <a:endParaRPr lang="ru-RU" dirty="0">
              <a:solidFill>
                <a:srgbClr val="295E7E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3893" y="3044480"/>
            <a:ext cx="2402875" cy="995017"/>
          </a:xfrm>
          <a:prstGeom prst="rect">
            <a:avLst/>
          </a:prstGeom>
          <a:solidFill>
            <a:srgbClr val="006699"/>
          </a:solidFill>
        </p:spPr>
        <p:txBody>
          <a:bodyPr wrap="square" lIns="0" rIns="0" anchor="ctr" anchorCtr="0">
            <a:noAutofit/>
          </a:bodyPr>
          <a:lstStyle/>
          <a:p>
            <a:pPr marL="179388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двиги в 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распределении ресурсов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23893" y="4310212"/>
            <a:ext cx="2402875" cy="1008000"/>
          </a:xfrm>
          <a:prstGeom prst="rect">
            <a:avLst/>
          </a:prstGeom>
          <a:solidFill>
            <a:srgbClr val="006699"/>
          </a:solidFill>
        </p:spPr>
        <p:txBody>
          <a:bodyPr wrap="square" lIns="0" rIns="0" anchor="ctr" anchorCtr="0">
            <a:noAutofit/>
          </a:bodyPr>
          <a:lstStyle/>
          <a:p>
            <a:pPr marL="179388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двиги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в ценностях и культуре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работающего населения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23894" y="1612984"/>
            <a:ext cx="2424101" cy="1165647"/>
          </a:xfrm>
          <a:prstGeom prst="rect">
            <a:avLst/>
          </a:prstGeom>
          <a:solidFill>
            <a:srgbClr val="006699"/>
          </a:solidFill>
        </p:spPr>
        <p:txBody>
          <a:bodyPr wrap="square" lIns="0" rIns="0" anchor="ctr" anchorCtr="0">
            <a:noAutofit/>
          </a:bodyPr>
          <a:lstStyle/>
          <a:p>
            <a:pPr marL="179388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двиги в 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технологиях и цифровизация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657756" y="1724245"/>
            <a:ext cx="2677874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ru-RU" sz="14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Автоматизация и технологические инновации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77023" y="2310330"/>
            <a:ext cx="2424100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ольшие данные и углубленная аналитика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649918" y="3058275"/>
            <a:ext cx="2666239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Новый демографический состав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645284" y="3616939"/>
            <a:ext cx="2666239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мещение геополитических и экономических сил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645284" y="4334230"/>
            <a:ext cx="2812865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Многообразие и </a:t>
            </a:r>
            <a:r>
              <a:rPr lang="ru-RU" sz="1400" dirty="0" err="1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инклюзивность</a:t>
            </a:r>
            <a:endParaRPr lang="ru-RU" sz="14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629901" y="4888003"/>
            <a:ext cx="2518343" cy="436267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Новые бизнес-модели</a:t>
            </a:r>
          </a:p>
        </p:txBody>
      </p:sp>
      <p:grpSp>
        <p:nvGrpSpPr>
          <p:cNvPr id="35" name="bcgIcons_AdvancedRobotics">
            <a:extLst>
              <a:ext uri="{FF2B5EF4-FFF2-40B4-BE49-F238E27FC236}">
                <a16:creationId xmlns:a16="http://schemas.microsoft.com/office/drawing/2014/main" id="{61B890B8-6691-4A30-BDF0-277391921D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53617" y="1714091"/>
            <a:ext cx="445550" cy="360334"/>
            <a:chOff x="1682" y="0"/>
            <a:chExt cx="4316" cy="4320"/>
          </a:xfrm>
        </p:grpSpPr>
        <p:sp>
          <p:nvSpPr>
            <p:cNvPr id="36" name="AutoShape 3">
              <a:extLst>
                <a:ext uri="{FF2B5EF4-FFF2-40B4-BE49-F238E27FC236}">
                  <a16:creationId xmlns:a16="http://schemas.microsoft.com/office/drawing/2014/main" id="{73DE5D19-62AF-4D7D-9D8F-73865FF87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AC2DA65-39FD-46ED-9A66-5C38FEBE8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9" y="833"/>
              <a:ext cx="3509" cy="2763"/>
            </a:xfrm>
            <a:custGeom>
              <a:avLst/>
              <a:gdLst>
                <a:gd name="T0" fmla="*/ 781 w 1873"/>
                <a:gd name="T1" fmla="*/ 1082 h 1474"/>
                <a:gd name="T2" fmla="*/ 781 w 1873"/>
                <a:gd name="T3" fmla="*/ 1216 h 1474"/>
                <a:gd name="T4" fmla="*/ 842 w 1873"/>
                <a:gd name="T5" fmla="*/ 1216 h 1474"/>
                <a:gd name="T6" fmla="*/ 861 w 1873"/>
                <a:gd name="T7" fmla="*/ 1235 h 1474"/>
                <a:gd name="T8" fmla="*/ 861 w 1873"/>
                <a:gd name="T9" fmla="*/ 1370 h 1474"/>
                <a:gd name="T10" fmla="*/ 1854 w 1873"/>
                <a:gd name="T11" fmla="*/ 1370 h 1474"/>
                <a:gd name="T12" fmla="*/ 1854 w 1873"/>
                <a:gd name="T13" fmla="*/ 1370 h 1474"/>
                <a:gd name="T14" fmla="*/ 1873 w 1873"/>
                <a:gd name="T15" fmla="*/ 1388 h 1474"/>
                <a:gd name="T16" fmla="*/ 1873 w 1873"/>
                <a:gd name="T17" fmla="*/ 1455 h 1474"/>
                <a:gd name="T18" fmla="*/ 1854 w 1873"/>
                <a:gd name="T19" fmla="*/ 1474 h 1474"/>
                <a:gd name="T20" fmla="*/ 171 w 1873"/>
                <a:gd name="T21" fmla="*/ 1474 h 1474"/>
                <a:gd name="T22" fmla="*/ 152 w 1873"/>
                <a:gd name="T23" fmla="*/ 1455 h 1474"/>
                <a:gd name="T24" fmla="*/ 152 w 1873"/>
                <a:gd name="T25" fmla="*/ 1388 h 1474"/>
                <a:gd name="T26" fmla="*/ 171 w 1873"/>
                <a:gd name="T27" fmla="*/ 1370 h 1474"/>
                <a:gd name="T28" fmla="*/ 231 w 1873"/>
                <a:gd name="T29" fmla="*/ 1370 h 1474"/>
                <a:gd name="T30" fmla="*/ 231 w 1873"/>
                <a:gd name="T31" fmla="*/ 1235 h 1474"/>
                <a:gd name="T32" fmla="*/ 250 w 1873"/>
                <a:gd name="T33" fmla="*/ 1216 h 1474"/>
                <a:gd name="T34" fmla="*/ 313 w 1873"/>
                <a:gd name="T35" fmla="*/ 1216 h 1474"/>
                <a:gd name="T36" fmla="*/ 313 w 1873"/>
                <a:gd name="T37" fmla="*/ 1082 h 1474"/>
                <a:gd name="T38" fmla="*/ 781 w 1873"/>
                <a:gd name="T39" fmla="*/ 1082 h 1474"/>
                <a:gd name="T40" fmla="*/ 1826 w 1873"/>
                <a:gd name="T41" fmla="*/ 1009 h 1474"/>
                <a:gd name="T42" fmla="*/ 1693 w 1873"/>
                <a:gd name="T43" fmla="*/ 880 h 1474"/>
                <a:gd name="T44" fmla="*/ 1560 w 1873"/>
                <a:gd name="T45" fmla="*/ 1009 h 1474"/>
                <a:gd name="T46" fmla="*/ 1626 w 1873"/>
                <a:gd name="T47" fmla="*/ 1119 h 1474"/>
                <a:gd name="T48" fmla="*/ 1626 w 1873"/>
                <a:gd name="T49" fmla="*/ 1181 h 1474"/>
                <a:gd name="T50" fmla="*/ 1645 w 1873"/>
                <a:gd name="T51" fmla="*/ 1199 h 1474"/>
                <a:gd name="T52" fmla="*/ 1657 w 1873"/>
                <a:gd name="T53" fmla="*/ 1199 h 1474"/>
                <a:gd name="T54" fmla="*/ 1656 w 1873"/>
                <a:gd name="T55" fmla="*/ 1206 h 1474"/>
                <a:gd name="T56" fmla="*/ 1656 w 1873"/>
                <a:gd name="T57" fmla="*/ 1215 h 1474"/>
                <a:gd name="T58" fmla="*/ 1675 w 1873"/>
                <a:gd name="T59" fmla="*/ 1233 h 1474"/>
                <a:gd name="T60" fmla="*/ 1676 w 1873"/>
                <a:gd name="T61" fmla="*/ 1233 h 1474"/>
                <a:gd name="T62" fmla="*/ 1676 w 1873"/>
                <a:gd name="T63" fmla="*/ 1271 h 1474"/>
                <a:gd name="T64" fmla="*/ 1693 w 1873"/>
                <a:gd name="T65" fmla="*/ 1287 h 1474"/>
                <a:gd name="T66" fmla="*/ 1711 w 1873"/>
                <a:gd name="T67" fmla="*/ 1271 h 1474"/>
                <a:gd name="T68" fmla="*/ 1711 w 1873"/>
                <a:gd name="T69" fmla="*/ 1233 h 1474"/>
                <a:gd name="T70" fmla="*/ 1712 w 1873"/>
                <a:gd name="T71" fmla="*/ 1233 h 1474"/>
                <a:gd name="T72" fmla="*/ 1731 w 1873"/>
                <a:gd name="T73" fmla="*/ 1215 h 1474"/>
                <a:gd name="T74" fmla="*/ 1731 w 1873"/>
                <a:gd name="T75" fmla="*/ 1206 h 1474"/>
                <a:gd name="T76" fmla="*/ 1729 w 1873"/>
                <a:gd name="T77" fmla="*/ 1199 h 1474"/>
                <a:gd name="T78" fmla="*/ 1742 w 1873"/>
                <a:gd name="T79" fmla="*/ 1199 h 1474"/>
                <a:gd name="T80" fmla="*/ 1760 w 1873"/>
                <a:gd name="T81" fmla="*/ 1181 h 1474"/>
                <a:gd name="T82" fmla="*/ 1760 w 1873"/>
                <a:gd name="T83" fmla="*/ 1119 h 1474"/>
                <a:gd name="T84" fmla="*/ 1826 w 1873"/>
                <a:gd name="T85" fmla="*/ 1009 h 1474"/>
                <a:gd name="T86" fmla="*/ 524 w 1873"/>
                <a:gd name="T87" fmla="*/ 262 h 1474"/>
                <a:gd name="T88" fmla="*/ 262 w 1873"/>
                <a:gd name="T89" fmla="*/ 0 h 1474"/>
                <a:gd name="T90" fmla="*/ 0 w 1873"/>
                <a:gd name="T91" fmla="*/ 262 h 1474"/>
                <a:gd name="T92" fmla="*/ 262 w 1873"/>
                <a:gd name="T93" fmla="*/ 524 h 1474"/>
                <a:gd name="T94" fmla="*/ 524 w 1873"/>
                <a:gd name="T95" fmla="*/ 262 h 1474"/>
                <a:gd name="T96" fmla="*/ 480 w 1873"/>
                <a:gd name="T97" fmla="*/ 262 h 1474"/>
                <a:gd name="T98" fmla="*/ 262 w 1873"/>
                <a:gd name="T99" fmla="*/ 480 h 1474"/>
                <a:gd name="T100" fmla="*/ 44 w 1873"/>
                <a:gd name="T101" fmla="*/ 262 h 1474"/>
                <a:gd name="T102" fmla="*/ 262 w 1873"/>
                <a:gd name="T103" fmla="*/ 44 h 1474"/>
                <a:gd name="T104" fmla="*/ 480 w 1873"/>
                <a:gd name="T105" fmla="*/ 262 h 1474"/>
                <a:gd name="T106" fmla="*/ 1378 w 1873"/>
                <a:gd name="T107" fmla="*/ 278 h 1474"/>
                <a:gd name="T108" fmla="*/ 1154 w 1873"/>
                <a:gd name="T109" fmla="*/ 53 h 1474"/>
                <a:gd name="T110" fmla="*/ 929 w 1873"/>
                <a:gd name="T111" fmla="*/ 278 h 1474"/>
                <a:gd name="T112" fmla="*/ 1154 w 1873"/>
                <a:gd name="T113" fmla="*/ 502 h 1474"/>
                <a:gd name="T114" fmla="*/ 1378 w 1873"/>
                <a:gd name="T115" fmla="*/ 278 h 1474"/>
                <a:gd name="T116" fmla="*/ 1334 w 1873"/>
                <a:gd name="T117" fmla="*/ 278 h 1474"/>
                <a:gd name="T118" fmla="*/ 1154 w 1873"/>
                <a:gd name="T119" fmla="*/ 458 h 1474"/>
                <a:gd name="T120" fmla="*/ 973 w 1873"/>
                <a:gd name="T121" fmla="*/ 278 h 1474"/>
                <a:gd name="T122" fmla="*/ 1154 w 1873"/>
                <a:gd name="T123" fmla="*/ 97 h 1474"/>
                <a:gd name="T124" fmla="*/ 1334 w 1873"/>
                <a:gd name="T125" fmla="*/ 278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3" h="1474">
                  <a:moveTo>
                    <a:pt x="781" y="1082"/>
                  </a:moveTo>
                  <a:cubicBezTo>
                    <a:pt x="781" y="1082"/>
                    <a:pt x="781" y="1147"/>
                    <a:pt x="781" y="1216"/>
                  </a:cubicBezTo>
                  <a:cubicBezTo>
                    <a:pt x="781" y="1216"/>
                    <a:pt x="781" y="1216"/>
                    <a:pt x="842" y="1216"/>
                  </a:cubicBezTo>
                  <a:cubicBezTo>
                    <a:pt x="853" y="1216"/>
                    <a:pt x="861" y="1224"/>
                    <a:pt x="861" y="1235"/>
                  </a:cubicBezTo>
                  <a:cubicBezTo>
                    <a:pt x="861" y="1235"/>
                    <a:pt x="861" y="1235"/>
                    <a:pt x="861" y="1370"/>
                  </a:cubicBezTo>
                  <a:cubicBezTo>
                    <a:pt x="861" y="1370"/>
                    <a:pt x="861" y="1370"/>
                    <a:pt x="1854" y="1370"/>
                  </a:cubicBezTo>
                  <a:cubicBezTo>
                    <a:pt x="1854" y="1370"/>
                    <a:pt x="1854" y="1370"/>
                    <a:pt x="1854" y="1370"/>
                  </a:cubicBezTo>
                  <a:cubicBezTo>
                    <a:pt x="1865" y="1370"/>
                    <a:pt x="1873" y="1377"/>
                    <a:pt x="1873" y="1388"/>
                  </a:cubicBezTo>
                  <a:cubicBezTo>
                    <a:pt x="1873" y="1388"/>
                    <a:pt x="1873" y="1388"/>
                    <a:pt x="1873" y="1455"/>
                  </a:cubicBezTo>
                  <a:cubicBezTo>
                    <a:pt x="1873" y="1466"/>
                    <a:pt x="1865" y="1474"/>
                    <a:pt x="1854" y="1474"/>
                  </a:cubicBezTo>
                  <a:cubicBezTo>
                    <a:pt x="1854" y="1474"/>
                    <a:pt x="1854" y="1474"/>
                    <a:pt x="171" y="1474"/>
                  </a:cubicBezTo>
                  <a:cubicBezTo>
                    <a:pt x="160" y="1474"/>
                    <a:pt x="152" y="1466"/>
                    <a:pt x="152" y="1455"/>
                  </a:cubicBezTo>
                  <a:cubicBezTo>
                    <a:pt x="152" y="1455"/>
                    <a:pt x="152" y="1455"/>
                    <a:pt x="152" y="1388"/>
                  </a:cubicBezTo>
                  <a:cubicBezTo>
                    <a:pt x="152" y="1377"/>
                    <a:pt x="160" y="1370"/>
                    <a:pt x="171" y="1370"/>
                  </a:cubicBezTo>
                  <a:cubicBezTo>
                    <a:pt x="171" y="1370"/>
                    <a:pt x="171" y="1370"/>
                    <a:pt x="231" y="1370"/>
                  </a:cubicBezTo>
                  <a:cubicBezTo>
                    <a:pt x="231" y="1370"/>
                    <a:pt x="231" y="1370"/>
                    <a:pt x="231" y="1235"/>
                  </a:cubicBezTo>
                  <a:cubicBezTo>
                    <a:pt x="231" y="1224"/>
                    <a:pt x="239" y="1216"/>
                    <a:pt x="250" y="1216"/>
                  </a:cubicBezTo>
                  <a:cubicBezTo>
                    <a:pt x="250" y="1216"/>
                    <a:pt x="250" y="1216"/>
                    <a:pt x="313" y="1216"/>
                  </a:cubicBezTo>
                  <a:cubicBezTo>
                    <a:pt x="313" y="1216"/>
                    <a:pt x="313" y="1198"/>
                    <a:pt x="313" y="1082"/>
                  </a:cubicBezTo>
                  <a:lnTo>
                    <a:pt x="781" y="1082"/>
                  </a:lnTo>
                  <a:close/>
                  <a:moveTo>
                    <a:pt x="1826" y="1009"/>
                  </a:moveTo>
                  <a:cubicBezTo>
                    <a:pt x="1826" y="938"/>
                    <a:pt x="1766" y="880"/>
                    <a:pt x="1693" y="880"/>
                  </a:cubicBezTo>
                  <a:cubicBezTo>
                    <a:pt x="1620" y="880"/>
                    <a:pt x="1560" y="938"/>
                    <a:pt x="1560" y="1009"/>
                  </a:cubicBezTo>
                  <a:cubicBezTo>
                    <a:pt x="1560" y="1055"/>
                    <a:pt x="1587" y="1097"/>
                    <a:pt x="1626" y="1119"/>
                  </a:cubicBezTo>
                  <a:cubicBezTo>
                    <a:pt x="1626" y="1181"/>
                    <a:pt x="1626" y="1181"/>
                    <a:pt x="1626" y="1181"/>
                  </a:cubicBezTo>
                  <a:cubicBezTo>
                    <a:pt x="1626" y="1191"/>
                    <a:pt x="1635" y="1199"/>
                    <a:pt x="1645" y="1199"/>
                  </a:cubicBezTo>
                  <a:cubicBezTo>
                    <a:pt x="1657" y="1199"/>
                    <a:pt x="1657" y="1199"/>
                    <a:pt x="1657" y="1199"/>
                  </a:cubicBezTo>
                  <a:cubicBezTo>
                    <a:pt x="1656" y="1202"/>
                    <a:pt x="1656" y="1203"/>
                    <a:pt x="1656" y="1206"/>
                  </a:cubicBezTo>
                  <a:cubicBezTo>
                    <a:pt x="1656" y="1215"/>
                    <a:pt x="1656" y="1215"/>
                    <a:pt x="1656" y="1215"/>
                  </a:cubicBezTo>
                  <a:cubicBezTo>
                    <a:pt x="1656" y="1224"/>
                    <a:pt x="1665" y="1233"/>
                    <a:pt x="1675" y="1233"/>
                  </a:cubicBezTo>
                  <a:cubicBezTo>
                    <a:pt x="1676" y="1233"/>
                    <a:pt x="1676" y="1233"/>
                    <a:pt x="1676" y="1233"/>
                  </a:cubicBezTo>
                  <a:cubicBezTo>
                    <a:pt x="1676" y="1271"/>
                    <a:pt x="1676" y="1271"/>
                    <a:pt x="1676" y="1271"/>
                  </a:cubicBezTo>
                  <a:cubicBezTo>
                    <a:pt x="1676" y="1280"/>
                    <a:pt x="1684" y="1287"/>
                    <a:pt x="1693" y="1287"/>
                  </a:cubicBezTo>
                  <a:cubicBezTo>
                    <a:pt x="1703" y="1287"/>
                    <a:pt x="1711" y="1280"/>
                    <a:pt x="1711" y="1271"/>
                  </a:cubicBezTo>
                  <a:cubicBezTo>
                    <a:pt x="1711" y="1233"/>
                    <a:pt x="1711" y="1233"/>
                    <a:pt x="1711" y="1233"/>
                  </a:cubicBezTo>
                  <a:cubicBezTo>
                    <a:pt x="1712" y="1233"/>
                    <a:pt x="1712" y="1233"/>
                    <a:pt x="1712" y="1233"/>
                  </a:cubicBezTo>
                  <a:cubicBezTo>
                    <a:pt x="1722" y="1233"/>
                    <a:pt x="1731" y="1224"/>
                    <a:pt x="1731" y="1215"/>
                  </a:cubicBezTo>
                  <a:cubicBezTo>
                    <a:pt x="1731" y="1206"/>
                    <a:pt x="1731" y="1206"/>
                    <a:pt x="1731" y="1206"/>
                  </a:cubicBezTo>
                  <a:cubicBezTo>
                    <a:pt x="1731" y="1203"/>
                    <a:pt x="1730" y="1202"/>
                    <a:pt x="1729" y="1199"/>
                  </a:cubicBezTo>
                  <a:cubicBezTo>
                    <a:pt x="1742" y="1199"/>
                    <a:pt x="1742" y="1199"/>
                    <a:pt x="1742" y="1199"/>
                  </a:cubicBezTo>
                  <a:cubicBezTo>
                    <a:pt x="1752" y="1199"/>
                    <a:pt x="1760" y="1191"/>
                    <a:pt x="1760" y="1181"/>
                  </a:cubicBezTo>
                  <a:cubicBezTo>
                    <a:pt x="1760" y="1119"/>
                    <a:pt x="1760" y="1119"/>
                    <a:pt x="1760" y="1119"/>
                  </a:cubicBezTo>
                  <a:cubicBezTo>
                    <a:pt x="1800" y="1097"/>
                    <a:pt x="1826" y="1055"/>
                    <a:pt x="1826" y="1009"/>
                  </a:cubicBezTo>
                  <a:close/>
                  <a:moveTo>
                    <a:pt x="524" y="262"/>
                  </a:moveTo>
                  <a:cubicBezTo>
                    <a:pt x="524" y="118"/>
                    <a:pt x="406" y="0"/>
                    <a:pt x="262" y="0"/>
                  </a:cubicBezTo>
                  <a:cubicBezTo>
                    <a:pt x="118" y="0"/>
                    <a:pt x="0" y="118"/>
                    <a:pt x="0" y="262"/>
                  </a:cubicBezTo>
                  <a:cubicBezTo>
                    <a:pt x="0" y="406"/>
                    <a:pt x="118" y="524"/>
                    <a:pt x="262" y="524"/>
                  </a:cubicBezTo>
                  <a:cubicBezTo>
                    <a:pt x="406" y="524"/>
                    <a:pt x="524" y="406"/>
                    <a:pt x="524" y="262"/>
                  </a:cubicBezTo>
                  <a:close/>
                  <a:moveTo>
                    <a:pt x="480" y="262"/>
                  </a:moveTo>
                  <a:cubicBezTo>
                    <a:pt x="480" y="382"/>
                    <a:pt x="382" y="480"/>
                    <a:pt x="262" y="480"/>
                  </a:cubicBezTo>
                  <a:cubicBezTo>
                    <a:pt x="142" y="480"/>
                    <a:pt x="44" y="382"/>
                    <a:pt x="44" y="262"/>
                  </a:cubicBezTo>
                  <a:cubicBezTo>
                    <a:pt x="44" y="142"/>
                    <a:pt x="142" y="44"/>
                    <a:pt x="262" y="44"/>
                  </a:cubicBezTo>
                  <a:cubicBezTo>
                    <a:pt x="382" y="44"/>
                    <a:pt x="480" y="142"/>
                    <a:pt x="480" y="262"/>
                  </a:cubicBezTo>
                  <a:close/>
                  <a:moveTo>
                    <a:pt x="1378" y="278"/>
                  </a:moveTo>
                  <a:cubicBezTo>
                    <a:pt x="1378" y="154"/>
                    <a:pt x="1277" y="53"/>
                    <a:pt x="1154" y="53"/>
                  </a:cubicBezTo>
                  <a:cubicBezTo>
                    <a:pt x="1030" y="53"/>
                    <a:pt x="929" y="154"/>
                    <a:pt x="929" y="278"/>
                  </a:cubicBezTo>
                  <a:cubicBezTo>
                    <a:pt x="929" y="401"/>
                    <a:pt x="1030" y="502"/>
                    <a:pt x="1154" y="502"/>
                  </a:cubicBezTo>
                  <a:cubicBezTo>
                    <a:pt x="1277" y="502"/>
                    <a:pt x="1378" y="401"/>
                    <a:pt x="1378" y="278"/>
                  </a:cubicBezTo>
                  <a:close/>
                  <a:moveTo>
                    <a:pt x="1334" y="278"/>
                  </a:moveTo>
                  <a:cubicBezTo>
                    <a:pt x="1334" y="377"/>
                    <a:pt x="1253" y="458"/>
                    <a:pt x="1154" y="458"/>
                  </a:cubicBezTo>
                  <a:cubicBezTo>
                    <a:pt x="1054" y="458"/>
                    <a:pt x="973" y="377"/>
                    <a:pt x="973" y="278"/>
                  </a:cubicBezTo>
                  <a:cubicBezTo>
                    <a:pt x="973" y="178"/>
                    <a:pt x="1054" y="97"/>
                    <a:pt x="1154" y="97"/>
                  </a:cubicBezTo>
                  <a:cubicBezTo>
                    <a:pt x="1253" y="97"/>
                    <a:pt x="1334" y="178"/>
                    <a:pt x="1334" y="2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993BE1F-C0C0-42C7-8D09-3424F0E51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0" y="1024"/>
              <a:ext cx="3026" cy="1753"/>
            </a:xfrm>
            <a:custGeom>
              <a:avLst/>
              <a:gdLst>
                <a:gd name="T0" fmla="*/ 707 w 1615"/>
                <a:gd name="T1" fmla="*/ 815 h 935"/>
                <a:gd name="T2" fmla="*/ 707 w 1615"/>
                <a:gd name="T3" fmla="*/ 916 h 935"/>
                <a:gd name="T4" fmla="*/ 689 w 1615"/>
                <a:gd name="T5" fmla="*/ 935 h 935"/>
                <a:gd name="T6" fmla="*/ 191 w 1615"/>
                <a:gd name="T7" fmla="*/ 935 h 935"/>
                <a:gd name="T8" fmla="*/ 172 w 1615"/>
                <a:gd name="T9" fmla="*/ 916 h 935"/>
                <a:gd name="T10" fmla="*/ 172 w 1615"/>
                <a:gd name="T11" fmla="*/ 815 h 935"/>
                <a:gd name="T12" fmla="*/ 191 w 1615"/>
                <a:gd name="T13" fmla="*/ 796 h 935"/>
                <a:gd name="T14" fmla="*/ 256 w 1615"/>
                <a:gd name="T15" fmla="*/ 796 h 935"/>
                <a:gd name="T16" fmla="*/ 131 w 1615"/>
                <a:gd name="T17" fmla="*/ 464 h 935"/>
                <a:gd name="T18" fmla="*/ 160 w 1615"/>
                <a:gd name="T19" fmla="*/ 466 h 935"/>
                <a:gd name="T20" fmla="*/ 408 w 1615"/>
                <a:gd name="T21" fmla="*/ 338 h 935"/>
                <a:gd name="T22" fmla="*/ 628 w 1615"/>
                <a:gd name="T23" fmla="*/ 796 h 935"/>
                <a:gd name="T24" fmla="*/ 689 w 1615"/>
                <a:gd name="T25" fmla="*/ 796 h 935"/>
                <a:gd name="T26" fmla="*/ 707 w 1615"/>
                <a:gd name="T27" fmla="*/ 815 h 935"/>
                <a:gd name="T28" fmla="*/ 320 w 1615"/>
                <a:gd name="T29" fmla="*/ 160 h 935"/>
                <a:gd name="T30" fmla="*/ 160 w 1615"/>
                <a:gd name="T31" fmla="*/ 0 h 935"/>
                <a:gd name="T32" fmla="*/ 0 w 1615"/>
                <a:gd name="T33" fmla="*/ 160 h 935"/>
                <a:gd name="T34" fmla="*/ 160 w 1615"/>
                <a:gd name="T35" fmla="*/ 320 h 935"/>
                <a:gd name="T36" fmla="*/ 320 w 1615"/>
                <a:gd name="T37" fmla="*/ 160 h 935"/>
                <a:gd name="T38" fmla="*/ 1187 w 1615"/>
                <a:gd name="T39" fmla="*/ 176 h 935"/>
                <a:gd name="T40" fmla="*/ 1052 w 1615"/>
                <a:gd name="T41" fmla="*/ 41 h 935"/>
                <a:gd name="T42" fmla="*/ 916 w 1615"/>
                <a:gd name="T43" fmla="*/ 176 h 935"/>
                <a:gd name="T44" fmla="*/ 1052 w 1615"/>
                <a:gd name="T45" fmla="*/ 311 h 935"/>
                <a:gd name="T46" fmla="*/ 1187 w 1615"/>
                <a:gd name="T47" fmla="*/ 176 h 935"/>
                <a:gd name="T48" fmla="*/ 807 w 1615"/>
                <a:gd name="T49" fmla="*/ 285 h 935"/>
                <a:gd name="T50" fmla="*/ 783 w 1615"/>
                <a:gd name="T51" fmla="*/ 176 h 935"/>
                <a:gd name="T52" fmla="*/ 816 w 1615"/>
                <a:gd name="T53" fmla="*/ 47 h 935"/>
                <a:gd name="T54" fmla="*/ 446 w 1615"/>
                <a:gd name="T55" fmla="*/ 43 h 935"/>
                <a:gd name="T56" fmla="*/ 442 w 1615"/>
                <a:gd name="T57" fmla="*/ 42 h 935"/>
                <a:gd name="T58" fmla="*/ 466 w 1615"/>
                <a:gd name="T59" fmla="*/ 160 h 935"/>
                <a:gd name="T60" fmla="*/ 435 w 1615"/>
                <a:gd name="T61" fmla="*/ 293 h 935"/>
                <a:gd name="T62" fmla="*/ 807 w 1615"/>
                <a:gd name="T63" fmla="*/ 285 h 935"/>
                <a:gd name="T64" fmla="*/ 1591 w 1615"/>
                <a:gd name="T65" fmla="*/ 734 h 935"/>
                <a:gd name="T66" fmla="*/ 1615 w 1615"/>
                <a:gd name="T67" fmla="*/ 736 h 935"/>
                <a:gd name="T68" fmla="*/ 1289 w 1615"/>
                <a:gd name="T69" fmla="*/ 300 h 935"/>
                <a:gd name="T70" fmla="*/ 1092 w 1615"/>
                <a:gd name="T71" fmla="*/ 441 h 935"/>
                <a:gd name="T72" fmla="*/ 1418 w 1615"/>
                <a:gd name="T73" fmla="*/ 874 h 935"/>
                <a:gd name="T74" fmla="*/ 1591 w 1615"/>
                <a:gd name="T75" fmla="*/ 734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5" h="935">
                  <a:moveTo>
                    <a:pt x="707" y="815"/>
                  </a:moveTo>
                  <a:cubicBezTo>
                    <a:pt x="707" y="815"/>
                    <a:pt x="707" y="815"/>
                    <a:pt x="707" y="916"/>
                  </a:cubicBezTo>
                  <a:cubicBezTo>
                    <a:pt x="707" y="927"/>
                    <a:pt x="700" y="935"/>
                    <a:pt x="689" y="935"/>
                  </a:cubicBezTo>
                  <a:cubicBezTo>
                    <a:pt x="689" y="935"/>
                    <a:pt x="689" y="935"/>
                    <a:pt x="191" y="935"/>
                  </a:cubicBezTo>
                  <a:cubicBezTo>
                    <a:pt x="180" y="935"/>
                    <a:pt x="172" y="927"/>
                    <a:pt x="172" y="916"/>
                  </a:cubicBezTo>
                  <a:cubicBezTo>
                    <a:pt x="172" y="916"/>
                    <a:pt x="172" y="916"/>
                    <a:pt x="172" y="815"/>
                  </a:cubicBezTo>
                  <a:cubicBezTo>
                    <a:pt x="172" y="804"/>
                    <a:pt x="180" y="796"/>
                    <a:pt x="191" y="796"/>
                  </a:cubicBezTo>
                  <a:cubicBezTo>
                    <a:pt x="191" y="796"/>
                    <a:pt x="191" y="796"/>
                    <a:pt x="256" y="796"/>
                  </a:cubicBezTo>
                  <a:cubicBezTo>
                    <a:pt x="256" y="796"/>
                    <a:pt x="243" y="760"/>
                    <a:pt x="131" y="464"/>
                  </a:cubicBezTo>
                  <a:cubicBezTo>
                    <a:pt x="141" y="465"/>
                    <a:pt x="150" y="466"/>
                    <a:pt x="160" y="466"/>
                  </a:cubicBezTo>
                  <a:cubicBezTo>
                    <a:pt x="262" y="466"/>
                    <a:pt x="353" y="415"/>
                    <a:pt x="408" y="338"/>
                  </a:cubicBezTo>
                  <a:cubicBezTo>
                    <a:pt x="426" y="376"/>
                    <a:pt x="479" y="486"/>
                    <a:pt x="628" y="796"/>
                  </a:cubicBezTo>
                  <a:cubicBezTo>
                    <a:pt x="628" y="796"/>
                    <a:pt x="628" y="796"/>
                    <a:pt x="689" y="796"/>
                  </a:cubicBezTo>
                  <a:cubicBezTo>
                    <a:pt x="700" y="796"/>
                    <a:pt x="707" y="804"/>
                    <a:pt x="707" y="815"/>
                  </a:cubicBezTo>
                  <a:close/>
                  <a:moveTo>
                    <a:pt x="320" y="160"/>
                  </a:moveTo>
                  <a:cubicBezTo>
                    <a:pt x="320" y="72"/>
                    <a:pt x="248" y="0"/>
                    <a:pt x="160" y="0"/>
                  </a:cubicBezTo>
                  <a:cubicBezTo>
                    <a:pt x="72" y="0"/>
                    <a:pt x="0" y="72"/>
                    <a:pt x="0" y="160"/>
                  </a:cubicBezTo>
                  <a:cubicBezTo>
                    <a:pt x="0" y="248"/>
                    <a:pt x="72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lose/>
                  <a:moveTo>
                    <a:pt x="1187" y="176"/>
                  </a:moveTo>
                  <a:cubicBezTo>
                    <a:pt x="1187" y="101"/>
                    <a:pt x="1126" y="41"/>
                    <a:pt x="1052" y="41"/>
                  </a:cubicBezTo>
                  <a:cubicBezTo>
                    <a:pt x="977" y="41"/>
                    <a:pt x="916" y="101"/>
                    <a:pt x="916" y="176"/>
                  </a:cubicBezTo>
                  <a:cubicBezTo>
                    <a:pt x="916" y="250"/>
                    <a:pt x="977" y="311"/>
                    <a:pt x="1052" y="311"/>
                  </a:cubicBezTo>
                  <a:cubicBezTo>
                    <a:pt x="1126" y="311"/>
                    <a:pt x="1187" y="250"/>
                    <a:pt x="1187" y="176"/>
                  </a:cubicBezTo>
                  <a:close/>
                  <a:moveTo>
                    <a:pt x="807" y="285"/>
                  </a:moveTo>
                  <a:cubicBezTo>
                    <a:pt x="792" y="252"/>
                    <a:pt x="783" y="215"/>
                    <a:pt x="783" y="176"/>
                  </a:cubicBezTo>
                  <a:cubicBezTo>
                    <a:pt x="783" y="129"/>
                    <a:pt x="795" y="85"/>
                    <a:pt x="816" y="47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2" y="42"/>
                    <a:pt x="442" y="42"/>
                    <a:pt x="442" y="42"/>
                  </a:cubicBezTo>
                  <a:cubicBezTo>
                    <a:pt x="457" y="79"/>
                    <a:pt x="466" y="118"/>
                    <a:pt x="466" y="160"/>
                  </a:cubicBezTo>
                  <a:cubicBezTo>
                    <a:pt x="466" y="208"/>
                    <a:pt x="455" y="253"/>
                    <a:pt x="435" y="293"/>
                  </a:cubicBezTo>
                  <a:cubicBezTo>
                    <a:pt x="650" y="289"/>
                    <a:pt x="756" y="286"/>
                    <a:pt x="807" y="285"/>
                  </a:cubicBezTo>
                  <a:close/>
                  <a:moveTo>
                    <a:pt x="1591" y="734"/>
                  </a:moveTo>
                  <a:cubicBezTo>
                    <a:pt x="1599" y="734"/>
                    <a:pt x="1607" y="735"/>
                    <a:pt x="1615" y="736"/>
                  </a:cubicBezTo>
                  <a:cubicBezTo>
                    <a:pt x="1417" y="472"/>
                    <a:pt x="1327" y="351"/>
                    <a:pt x="1289" y="300"/>
                  </a:cubicBezTo>
                  <a:cubicBezTo>
                    <a:pt x="1250" y="374"/>
                    <a:pt x="1178" y="428"/>
                    <a:pt x="1092" y="441"/>
                  </a:cubicBezTo>
                  <a:cubicBezTo>
                    <a:pt x="1307" y="727"/>
                    <a:pt x="1388" y="835"/>
                    <a:pt x="1418" y="874"/>
                  </a:cubicBezTo>
                  <a:cubicBezTo>
                    <a:pt x="1433" y="795"/>
                    <a:pt x="1505" y="734"/>
                    <a:pt x="1591" y="73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38"/>
          <p:cNvGrpSpPr>
            <a:grpSpLocks noChangeAspect="1"/>
          </p:cNvGrpSpPr>
          <p:nvPr/>
        </p:nvGrpSpPr>
        <p:grpSpPr>
          <a:xfrm>
            <a:off x="3164601" y="2328737"/>
            <a:ext cx="434565" cy="360335"/>
            <a:chOff x="5273801" y="2606040"/>
            <a:chExt cx="1644396" cy="1645920"/>
          </a:xfrm>
        </p:grpSpPr>
        <p:sp>
          <p:nvSpPr>
            <p:cNvPr id="40" name="AutoShape 18">
              <a:extLst>
                <a:ext uri="{FF2B5EF4-FFF2-40B4-BE49-F238E27FC236}">
                  <a16:creationId xmlns:a16="http://schemas.microsoft.com/office/drawing/2014/main" id="{5381C2E6-C0A5-47CA-9FE1-1E79D784DA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5470016" y="2869692"/>
              <a:ext cx="1346835" cy="1297305"/>
              <a:chOff x="5470016" y="2869692"/>
              <a:chExt cx="1346835" cy="1297305"/>
            </a:xfrm>
          </p:grpSpPr>
          <p:sp>
            <p:nvSpPr>
              <p:cNvPr id="42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881" y="3050286"/>
                <a:ext cx="1049274" cy="72428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0016" y="2869692"/>
                <a:ext cx="1346835" cy="12973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4" name="Group 43"/>
          <p:cNvGrpSpPr>
            <a:grpSpLocks/>
          </p:cNvGrpSpPr>
          <p:nvPr/>
        </p:nvGrpSpPr>
        <p:grpSpPr>
          <a:xfrm>
            <a:off x="3136742" y="3079182"/>
            <a:ext cx="417004" cy="360000"/>
            <a:chOff x="5273803" y="2606040"/>
            <a:chExt cx="1644396" cy="1645920"/>
          </a:xfrm>
        </p:grpSpPr>
        <p:sp>
          <p:nvSpPr>
            <p:cNvPr id="45" name="AutoShape 18">
              <a:extLst>
                <a:ext uri="{FF2B5EF4-FFF2-40B4-BE49-F238E27FC236}">
                  <a16:creationId xmlns:a16="http://schemas.microsoft.com/office/drawing/2014/main" id="{575286B9-FCC8-4EFB-9834-BD5493C559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47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9" name="bcgIcons_Global">
            <a:extLst>
              <a:ext uri="{FF2B5EF4-FFF2-40B4-BE49-F238E27FC236}">
                <a16:creationId xmlns:a16="http://schemas.microsoft.com/office/drawing/2014/main" id="{EA2CDFE6-A854-4226-BF7A-86120C3E4A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6742" y="3667815"/>
            <a:ext cx="398566" cy="360335"/>
            <a:chOff x="1682" y="0"/>
            <a:chExt cx="4316" cy="4320"/>
          </a:xfrm>
        </p:grpSpPr>
        <p:sp>
          <p:nvSpPr>
            <p:cNvPr id="50" name="AutoShape 28">
              <a:extLst>
                <a:ext uri="{FF2B5EF4-FFF2-40B4-BE49-F238E27FC236}">
                  <a16:creationId xmlns:a16="http://schemas.microsoft.com/office/drawing/2014/main" id="{702F9F3C-4998-4B0D-AA9D-A4D27F1CF1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72890FAC-EDA7-4CFA-B7B9-C0EFA9B1C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" y="444"/>
              <a:ext cx="3424" cy="3428"/>
            </a:xfrm>
            <a:custGeom>
              <a:avLst/>
              <a:gdLst>
                <a:gd name="T0" fmla="*/ 914 w 1828"/>
                <a:gd name="T1" fmla="*/ 1828 h 1828"/>
                <a:gd name="T2" fmla="*/ 268 w 1828"/>
                <a:gd name="T3" fmla="*/ 1560 h 1828"/>
                <a:gd name="T4" fmla="*/ 0 w 1828"/>
                <a:gd name="T5" fmla="*/ 914 h 1828"/>
                <a:gd name="T6" fmla="*/ 268 w 1828"/>
                <a:gd name="T7" fmla="*/ 268 h 1828"/>
                <a:gd name="T8" fmla="*/ 914 w 1828"/>
                <a:gd name="T9" fmla="*/ 0 h 1828"/>
                <a:gd name="T10" fmla="*/ 1560 w 1828"/>
                <a:gd name="T11" fmla="*/ 268 h 1828"/>
                <a:gd name="T12" fmla="*/ 1828 w 1828"/>
                <a:gd name="T13" fmla="*/ 914 h 1828"/>
                <a:gd name="T14" fmla="*/ 1560 w 1828"/>
                <a:gd name="T15" fmla="*/ 1560 h 1828"/>
                <a:gd name="T16" fmla="*/ 914 w 1828"/>
                <a:gd name="T17" fmla="*/ 1828 h 1828"/>
                <a:gd name="T18" fmla="*/ 914 w 1828"/>
                <a:gd name="T19" fmla="*/ 44 h 1828"/>
                <a:gd name="T20" fmla="*/ 44 w 1828"/>
                <a:gd name="T21" fmla="*/ 914 h 1828"/>
                <a:gd name="T22" fmla="*/ 914 w 1828"/>
                <a:gd name="T23" fmla="*/ 1784 h 1828"/>
                <a:gd name="T24" fmla="*/ 1784 w 1828"/>
                <a:gd name="T25" fmla="*/ 914 h 1828"/>
                <a:gd name="T26" fmla="*/ 914 w 1828"/>
                <a:gd name="T27" fmla="*/ 44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3CDB24A4-21B7-49B0-8969-392CD80A9A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3" y="609"/>
              <a:ext cx="3094" cy="3098"/>
            </a:xfrm>
            <a:custGeom>
              <a:avLst/>
              <a:gdLst>
                <a:gd name="T0" fmla="*/ 1408 w 1652"/>
                <a:gd name="T1" fmla="*/ 241 h 1652"/>
                <a:gd name="T2" fmla="*/ 1227 w 1652"/>
                <a:gd name="T3" fmla="*/ 278 h 1652"/>
                <a:gd name="T4" fmla="*/ 1189 w 1652"/>
                <a:gd name="T5" fmla="*/ 209 h 1652"/>
                <a:gd name="T6" fmla="*/ 882 w 1652"/>
                <a:gd name="T7" fmla="*/ 372 h 1652"/>
                <a:gd name="T8" fmla="*/ 1184 w 1652"/>
                <a:gd name="T9" fmla="*/ 295 h 1652"/>
                <a:gd name="T10" fmla="*/ 909 w 1652"/>
                <a:gd name="T11" fmla="*/ 4 h 1652"/>
                <a:gd name="T12" fmla="*/ 848 w 1652"/>
                <a:gd name="T13" fmla="*/ 338 h 1652"/>
                <a:gd name="T14" fmla="*/ 804 w 1652"/>
                <a:gd name="T15" fmla="*/ 452 h 1652"/>
                <a:gd name="T16" fmla="*/ 475 w 1652"/>
                <a:gd name="T17" fmla="*/ 375 h 1652"/>
                <a:gd name="T18" fmla="*/ 362 w 1652"/>
                <a:gd name="T19" fmla="*/ 770 h 1652"/>
                <a:gd name="T20" fmla="*/ 769 w 1652"/>
                <a:gd name="T21" fmla="*/ 804 h 1652"/>
                <a:gd name="T22" fmla="*/ 804 w 1652"/>
                <a:gd name="T23" fmla="*/ 452 h 1652"/>
                <a:gd name="T24" fmla="*/ 1177 w 1652"/>
                <a:gd name="T25" fmla="*/ 375 h 1652"/>
                <a:gd name="T26" fmla="*/ 848 w 1652"/>
                <a:gd name="T27" fmla="*/ 452 h 1652"/>
                <a:gd name="T28" fmla="*/ 883 w 1652"/>
                <a:gd name="T29" fmla="*/ 804 h 1652"/>
                <a:gd name="T30" fmla="*/ 1290 w 1652"/>
                <a:gd name="T31" fmla="*/ 770 h 1652"/>
                <a:gd name="T32" fmla="*/ 769 w 1652"/>
                <a:gd name="T33" fmla="*/ 848 h 1652"/>
                <a:gd name="T34" fmla="*/ 362 w 1652"/>
                <a:gd name="T35" fmla="*/ 882 h 1652"/>
                <a:gd name="T36" fmla="*/ 475 w 1652"/>
                <a:gd name="T37" fmla="*/ 1277 h 1652"/>
                <a:gd name="T38" fmla="*/ 804 w 1652"/>
                <a:gd name="T39" fmla="*/ 1200 h 1652"/>
                <a:gd name="T40" fmla="*/ 769 w 1652"/>
                <a:gd name="T41" fmla="*/ 848 h 1652"/>
                <a:gd name="T42" fmla="*/ 1184 w 1652"/>
                <a:gd name="T43" fmla="*/ 1357 h 1652"/>
                <a:gd name="T44" fmla="*/ 882 w 1652"/>
                <a:gd name="T45" fmla="*/ 1280 h 1652"/>
                <a:gd name="T46" fmla="*/ 848 w 1652"/>
                <a:gd name="T47" fmla="*/ 1652 h 1652"/>
                <a:gd name="T48" fmla="*/ 1151 w 1652"/>
                <a:gd name="T49" fmla="*/ 1421 h 1652"/>
                <a:gd name="T50" fmla="*/ 1256 w 1652"/>
                <a:gd name="T51" fmla="*/ 848 h 1652"/>
                <a:gd name="T52" fmla="*/ 848 w 1652"/>
                <a:gd name="T53" fmla="*/ 883 h 1652"/>
                <a:gd name="T54" fmla="*/ 883 w 1652"/>
                <a:gd name="T55" fmla="*/ 1236 h 1652"/>
                <a:gd name="T56" fmla="*/ 1225 w 1652"/>
                <a:gd name="T57" fmla="*/ 1252 h 1652"/>
                <a:gd name="T58" fmla="*/ 1267 w 1652"/>
                <a:gd name="T59" fmla="*/ 385 h 1652"/>
                <a:gd name="T60" fmla="*/ 1370 w 1652"/>
                <a:gd name="T61" fmla="*/ 804 h 1652"/>
                <a:gd name="T62" fmla="*/ 1440 w 1652"/>
                <a:gd name="T63" fmla="*/ 274 h 1652"/>
                <a:gd name="T64" fmla="*/ 1267 w 1652"/>
                <a:gd name="T65" fmla="*/ 385 h 1652"/>
                <a:gd name="T66" fmla="*/ 1227 w 1652"/>
                <a:gd name="T67" fmla="*/ 1374 h 1652"/>
                <a:gd name="T68" fmla="*/ 1189 w 1652"/>
                <a:gd name="T69" fmla="*/ 1443 h 1652"/>
                <a:gd name="T70" fmla="*/ 1408 w 1652"/>
                <a:gd name="T71" fmla="*/ 1411 h 1652"/>
                <a:gd name="T72" fmla="*/ 463 w 1652"/>
                <a:gd name="T73" fmla="*/ 1443 h 1652"/>
                <a:gd name="T74" fmla="*/ 426 w 1652"/>
                <a:gd name="T75" fmla="*/ 1374 h 1652"/>
                <a:gd name="T76" fmla="*/ 244 w 1652"/>
                <a:gd name="T77" fmla="*/ 1411 h 1652"/>
                <a:gd name="T78" fmla="*/ 463 w 1652"/>
                <a:gd name="T79" fmla="*/ 1443 h 1652"/>
                <a:gd name="T80" fmla="*/ 486 w 1652"/>
                <a:gd name="T81" fmla="*/ 1319 h 1652"/>
                <a:gd name="T82" fmla="*/ 501 w 1652"/>
                <a:gd name="T83" fmla="*/ 1421 h 1652"/>
                <a:gd name="T84" fmla="*/ 804 w 1652"/>
                <a:gd name="T85" fmla="*/ 1652 h 1652"/>
                <a:gd name="T86" fmla="*/ 770 w 1652"/>
                <a:gd name="T87" fmla="*/ 1280 h 1652"/>
                <a:gd name="T88" fmla="*/ 1334 w 1652"/>
                <a:gd name="T89" fmla="*/ 883 h 1652"/>
                <a:gd name="T90" fmla="*/ 1287 w 1652"/>
                <a:gd name="T91" fmla="*/ 1310 h 1652"/>
                <a:gd name="T92" fmla="*/ 1652 w 1652"/>
                <a:gd name="T93" fmla="*/ 848 h 1652"/>
                <a:gd name="T94" fmla="*/ 804 w 1652"/>
                <a:gd name="T95" fmla="*/ 0 h 1652"/>
                <a:gd name="T96" fmla="*/ 501 w 1652"/>
                <a:gd name="T97" fmla="*/ 231 h 1652"/>
                <a:gd name="T98" fmla="*/ 486 w 1652"/>
                <a:gd name="T99" fmla="*/ 333 h 1652"/>
                <a:gd name="T100" fmla="*/ 804 w 1652"/>
                <a:gd name="T101" fmla="*/ 338 h 1652"/>
                <a:gd name="T102" fmla="*/ 378 w 1652"/>
                <a:gd name="T103" fmla="*/ 300 h 1652"/>
                <a:gd name="T104" fmla="*/ 427 w 1652"/>
                <a:gd name="T105" fmla="*/ 278 h 1652"/>
                <a:gd name="T106" fmla="*/ 610 w 1652"/>
                <a:gd name="T107" fmla="*/ 29 h 1652"/>
                <a:gd name="T108" fmla="*/ 378 w 1652"/>
                <a:gd name="T109" fmla="*/ 300 h 1652"/>
                <a:gd name="T110" fmla="*/ 318 w 1652"/>
                <a:gd name="T111" fmla="*/ 769 h 1652"/>
                <a:gd name="T112" fmla="*/ 365 w 1652"/>
                <a:gd name="T113" fmla="*/ 342 h 1652"/>
                <a:gd name="T114" fmla="*/ 0 w 1652"/>
                <a:gd name="T115" fmla="*/ 804 h 1652"/>
                <a:gd name="T116" fmla="*/ 385 w 1652"/>
                <a:gd name="T117" fmla="*/ 1267 h 1652"/>
                <a:gd name="T118" fmla="*/ 282 w 1652"/>
                <a:gd name="T119" fmla="*/ 848 h 1652"/>
                <a:gd name="T120" fmla="*/ 212 w 1652"/>
                <a:gd name="T121" fmla="*/ 1378 h 1652"/>
                <a:gd name="T122" fmla="*/ 385 w 1652"/>
                <a:gd name="T123" fmla="*/ 1267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3156883" y="4372364"/>
            <a:ext cx="415500" cy="360000"/>
            <a:chOff x="5292430" y="2613965"/>
            <a:chExt cx="1645920" cy="1645920"/>
          </a:xfrm>
        </p:grpSpPr>
        <p:sp>
          <p:nvSpPr>
            <p:cNvPr id="54" name="Rectangle 53"/>
            <p:cNvSpPr/>
            <p:nvPr/>
          </p:nvSpPr>
          <p:spPr>
            <a:xfrm>
              <a:off x="5292430" y="2613965"/>
              <a:ext cx="1645920" cy="1645920"/>
            </a:xfrm>
            <a:prstGeom prst="rect">
              <a:avLst/>
            </a:prstGeom>
            <a:noFill/>
            <a:ln w="9525" cap="rnd">
              <a:noFill/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066" tIns="37033" rIns="74066" bIns="370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5392149" y="2697974"/>
              <a:ext cx="1446482" cy="1477901"/>
              <a:chOff x="5392149" y="2697974"/>
              <a:chExt cx="1446482" cy="1477901"/>
            </a:xfrm>
          </p:grpSpPr>
          <p:sp>
            <p:nvSpPr>
              <p:cNvPr id="56" name="Freeform 10"/>
              <p:cNvSpPr>
                <a:spLocks noEditPoints="1"/>
              </p:cNvSpPr>
              <p:nvPr/>
            </p:nvSpPr>
            <p:spPr bwMode="auto">
              <a:xfrm>
                <a:off x="5392149" y="2697974"/>
                <a:ext cx="1446482" cy="1477901"/>
              </a:xfrm>
              <a:custGeom>
                <a:avLst/>
                <a:gdLst>
                  <a:gd name="T0" fmla="*/ 1519 w 1900"/>
                  <a:gd name="T1" fmla="*/ 1024 h 1943"/>
                  <a:gd name="T2" fmla="*/ 1900 w 1900"/>
                  <a:gd name="T3" fmla="*/ 1002 h 1943"/>
                  <a:gd name="T4" fmla="*/ 1519 w 1900"/>
                  <a:gd name="T5" fmla="*/ 980 h 1943"/>
                  <a:gd name="T6" fmla="*/ 1164 w 1900"/>
                  <a:gd name="T7" fmla="*/ 690 h 1943"/>
                  <a:gd name="T8" fmla="*/ 1356 w 1900"/>
                  <a:gd name="T9" fmla="*/ 354 h 1943"/>
                  <a:gd name="T10" fmla="*/ 1356 w 1900"/>
                  <a:gd name="T11" fmla="*/ 44 h 1943"/>
                  <a:gd name="T12" fmla="*/ 1274 w 1900"/>
                  <a:gd name="T13" fmla="*/ 330 h 1943"/>
                  <a:gd name="T14" fmla="*/ 1003 w 1900"/>
                  <a:gd name="T15" fmla="*/ 651 h 1943"/>
                  <a:gd name="T16" fmla="*/ 445 w 1900"/>
                  <a:gd name="T17" fmla="*/ 413 h 1943"/>
                  <a:gd name="T18" fmla="*/ 252 w 1900"/>
                  <a:gd name="T19" fmla="*/ 0 h 1943"/>
                  <a:gd name="T20" fmla="*/ 252 w 1900"/>
                  <a:gd name="T21" fmla="*/ 504 h 1943"/>
                  <a:gd name="T22" fmla="*/ 739 w 1900"/>
                  <a:gd name="T23" fmla="*/ 770 h 1943"/>
                  <a:gd name="T24" fmla="*/ 736 w 1900"/>
                  <a:gd name="T25" fmla="*/ 1230 h 1943"/>
                  <a:gd name="T26" fmla="*/ 359 w 1900"/>
                  <a:gd name="T27" fmla="*/ 1314 h 1943"/>
                  <a:gd name="T28" fmla="*/ 359 w 1900"/>
                  <a:gd name="T29" fmla="*/ 1943 h 1943"/>
                  <a:gd name="T30" fmla="*/ 599 w 1900"/>
                  <a:gd name="T31" fmla="*/ 1426 h 1943"/>
                  <a:gd name="T32" fmla="*/ 1003 w 1900"/>
                  <a:gd name="T33" fmla="*/ 1353 h 1943"/>
                  <a:gd name="T34" fmla="*/ 1343 w 1900"/>
                  <a:gd name="T35" fmla="*/ 1449 h 1943"/>
                  <a:gd name="T36" fmla="*/ 1519 w 1900"/>
                  <a:gd name="T37" fmla="*/ 1880 h 1943"/>
                  <a:gd name="T38" fmla="*/ 1519 w 1900"/>
                  <a:gd name="T39" fmla="*/ 1377 h 1943"/>
                  <a:gd name="T40" fmla="*/ 1242 w 1900"/>
                  <a:gd name="T41" fmla="*/ 1258 h 1943"/>
                  <a:gd name="T42" fmla="*/ 1563 w 1900"/>
                  <a:gd name="T43" fmla="*/ 980 h 1943"/>
                  <a:gd name="T44" fmla="*/ 1856 w 1900"/>
                  <a:gd name="T45" fmla="*/ 1002 h 1943"/>
                  <a:gd name="T46" fmla="*/ 1563 w 1900"/>
                  <a:gd name="T47" fmla="*/ 1024 h 1943"/>
                  <a:gd name="T48" fmla="*/ 1563 w 1900"/>
                  <a:gd name="T49" fmla="*/ 980 h 1943"/>
                  <a:gd name="T50" fmla="*/ 1356 w 1900"/>
                  <a:gd name="T51" fmla="*/ 88 h 1943"/>
                  <a:gd name="T52" fmla="*/ 1356 w 1900"/>
                  <a:gd name="T53" fmla="*/ 310 h 1943"/>
                  <a:gd name="T54" fmla="*/ 1292 w 1900"/>
                  <a:gd name="T55" fmla="*/ 289 h 1943"/>
                  <a:gd name="T56" fmla="*/ 252 w 1900"/>
                  <a:gd name="T57" fmla="*/ 460 h 1943"/>
                  <a:gd name="T58" fmla="*/ 252 w 1900"/>
                  <a:gd name="T59" fmla="*/ 44 h 1943"/>
                  <a:gd name="T60" fmla="*/ 414 w 1900"/>
                  <a:gd name="T61" fmla="*/ 382 h 1943"/>
                  <a:gd name="T62" fmla="*/ 252 w 1900"/>
                  <a:gd name="T63" fmla="*/ 460 h 1943"/>
                  <a:gd name="T64" fmla="*/ 359 w 1900"/>
                  <a:gd name="T65" fmla="*/ 1899 h 1943"/>
                  <a:gd name="T66" fmla="*/ 359 w 1900"/>
                  <a:gd name="T67" fmla="*/ 1358 h 1943"/>
                  <a:gd name="T68" fmla="*/ 567 w 1900"/>
                  <a:gd name="T69" fmla="*/ 1456 h 1943"/>
                  <a:gd name="T70" fmla="*/ 1405 w 1900"/>
                  <a:gd name="T71" fmla="*/ 1455 h 1943"/>
                  <a:gd name="T72" fmla="*/ 1727 w 1900"/>
                  <a:gd name="T73" fmla="*/ 1629 h 1943"/>
                  <a:gd name="T74" fmla="*/ 1311 w 1900"/>
                  <a:gd name="T75" fmla="*/ 1629 h 1943"/>
                  <a:gd name="T76" fmla="*/ 1405 w 1900"/>
                  <a:gd name="T77" fmla="*/ 1455 h 1943"/>
                  <a:gd name="T78" fmla="*/ 1180 w 1900"/>
                  <a:gd name="T79" fmla="*/ 1252 h 1943"/>
                  <a:gd name="T80" fmla="*/ 798 w 1900"/>
                  <a:gd name="T81" fmla="*/ 1231 h 1943"/>
                  <a:gd name="T82" fmla="*/ 695 w 1900"/>
                  <a:gd name="T83" fmla="*/ 1002 h 1943"/>
                  <a:gd name="T84" fmla="*/ 802 w 1900"/>
                  <a:gd name="T85" fmla="*/ 770 h 1943"/>
                  <a:gd name="T86" fmla="*/ 1106 w 1900"/>
                  <a:gd name="T87" fmla="*/ 713 h 1943"/>
                  <a:gd name="T88" fmla="*/ 1309 w 1900"/>
                  <a:gd name="T89" fmla="*/ 980 h 1943"/>
                  <a:gd name="T90" fmla="*/ 1309 w 1900"/>
                  <a:gd name="T91" fmla="*/ 102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00" h="1943">
                    <a:moveTo>
                      <a:pt x="1353" y="1024"/>
                    </a:moveTo>
                    <a:cubicBezTo>
                      <a:pt x="1519" y="1024"/>
                      <a:pt x="1519" y="1024"/>
                      <a:pt x="1519" y="1024"/>
                    </a:cubicBezTo>
                    <a:cubicBezTo>
                      <a:pt x="1530" y="1119"/>
                      <a:pt x="1611" y="1193"/>
                      <a:pt x="1709" y="1193"/>
                    </a:cubicBezTo>
                    <a:cubicBezTo>
                      <a:pt x="1814" y="1193"/>
                      <a:pt x="1900" y="1107"/>
                      <a:pt x="1900" y="1002"/>
                    </a:cubicBezTo>
                    <a:cubicBezTo>
                      <a:pt x="1900" y="897"/>
                      <a:pt x="1814" y="811"/>
                      <a:pt x="1709" y="811"/>
                    </a:cubicBezTo>
                    <a:cubicBezTo>
                      <a:pt x="1611" y="811"/>
                      <a:pt x="1530" y="885"/>
                      <a:pt x="1519" y="980"/>
                    </a:cubicBezTo>
                    <a:cubicBezTo>
                      <a:pt x="1353" y="980"/>
                      <a:pt x="1353" y="980"/>
                      <a:pt x="1353" y="980"/>
                    </a:cubicBezTo>
                    <a:cubicBezTo>
                      <a:pt x="1345" y="854"/>
                      <a:pt x="1270" y="745"/>
                      <a:pt x="1164" y="690"/>
                    </a:cubicBezTo>
                    <a:cubicBezTo>
                      <a:pt x="1314" y="348"/>
                      <a:pt x="1314" y="348"/>
                      <a:pt x="1314" y="348"/>
                    </a:cubicBezTo>
                    <a:cubicBezTo>
                      <a:pt x="1327" y="352"/>
                      <a:pt x="1341" y="354"/>
                      <a:pt x="1356" y="354"/>
                    </a:cubicBezTo>
                    <a:cubicBezTo>
                      <a:pt x="1441" y="354"/>
                      <a:pt x="1511" y="284"/>
                      <a:pt x="1511" y="199"/>
                    </a:cubicBezTo>
                    <a:cubicBezTo>
                      <a:pt x="1511" y="113"/>
                      <a:pt x="1441" y="44"/>
                      <a:pt x="1356" y="44"/>
                    </a:cubicBezTo>
                    <a:cubicBezTo>
                      <a:pt x="1270" y="44"/>
                      <a:pt x="1201" y="113"/>
                      <a:pt x="1201" y="199"/>
                    </a:cubicBezTo>
                    <a:cubicBezTo>
                      <a:pt x="1201" y="254"/>
                      <a:pt x="1230" y="303"/>
                      <a:pt x="1274" y="330"/>
                    </a:cubicBezTo>
                    <a:cubicBezTo>
                      <a:pt x="1123" y="672"/>
                      <a:pt x="1123" y="672"/>
                      <a:pt x="1123" y="672"/>
                    </a:cubicBezTo>
                    <a:cubicBezTo>
                      <a:pt x="1086" y="659"/>
                      <a:pt x="1045" y="651"/>
                      <a:pt x="1003" y="651"/>
                    </a:cubicBezTo>
                    <a:cubicBezTo>
                      <a:pt x="914" y="651"/>
                      <a:pt x="832" y="684"/>
                      <a:pt x="770" y="739"/>
                    </a:cubicBezTo>
                    <a:cubicBezTo>
                      <a:pt x="445" y="413"/>
                      <a:pt x="445" y="413"/>
                      <a:pt x="445" y="413"/>
                    </a:cubicBezTo>
                    <a:cubicBezTo>
                      <a:pt x="482" y="370"/>
                      <a:pt x="504" y="313"/>
                      <a:pt x="504" y="252"/>
                    </a:cubicBezTo>
                    <a:cubicBezTo>
                      <a:pt x="504" y="113"/>
                      <a:pt x="391" y="0"/>
                      <a:pt x="252" y="0"/>
                    </a:cubicBezTo>
                    <a:cubicBezTo>
                      <a:pt x="113" y="0"/>
                      <a:pt x="0" y="113"/>
                      <a:pt x="0" y="252"/>
                    </a:cubicBezTo>
                    <a:cubicBezTo>
                      <a:pt x="0" y="391"/>
                      <a:pt x="113" y="504"/>
                      <a:pt x="252" y="504"/>
                    </a:cubicBezTo>
                    <a:cubicBezTo>
                      <a:pt x="314" y="504"/>
                      <a:pt x="370" y="481"/>
                      <a:pt x="414" y="445"/>
                    </a:cubicBezTo>
                    <a:cubicBezTo>
                      <a:pt x="739" y="770"/>
                      <a:pt x="739" y="770"/>
                      <a:pt x="739" y="770"/>
                    </a:cubicBezTo>
                    <a:cubicBezTo>
                      <a:pt x="685" y="832"/>
                      <a:pt x="651" y="913"/>
                      <a:pt x="651" y="1002"/>
                    </a:cubicBezTo>
                    <a:cubicBezTo>
                      <a:pt x="651" y="1089"/>
                      <a:pt x="683" y="1169"/>
                      <a:pt x="736" y="1230"/>
                    </a:cubicBezTo>
                    <a:cubicBezTo>
                      <a:pt x="568" y="1394"/>
                      <a:pt x="568" y="1394"/>
                      <a:pt x="568" y="1394"/>
                    </a:cubicBezTo>
                    <a:cubicBezTo>
                      <a:pt x="512" y="1345"/>
                      <a:pt x="439" y="1314"/>
                      <a:pt x="359" y="1314"/>
                    </a:cubicBezTo>
                    <a:cubicBezTo>
                      <a:pt x="186" y="1314"/>
                      <a:pt x="45" y="1455"/>
                      <a:pt x="45" y="1629"/>
                    </a:cubicBezTo>
                    <a:cubicBezTo>
                      <a:pt x="45" y="1802"/>
                      <a:pt x="186" y="1943"/>
                      <a:pt x="359" y="1943"/>
                    </a:cubicBezTo>
                    <a:cubicBezTo>
                      <a:pt x="532" y="1943"/>
                      <a:pt x="673" y="1802"/>
                      <a:pt x="673" y="1629"/>
                    </a:cubicBezTo>
                    <a:cubicBezTo>
                      <a:pt x="673" y="1551"/>
                      <a:pt x="645" y="1481"/>
                      <a:pt x="599" y="1426"/>
                    </a:cubicBezTo>
                    <a:cubicBezTo>
                      <a:pt x="767" y="1262"/>
                      <a:pt x="767" y="1262"/>
                      <a:pt x="767" y="1262"/>
                    </a:cubicBezTo>
                    <a:cubicBezTo>
                      <a:pt x="829" y="1319"/>
                      <a:pt x="912" y="1353"/>
                      <a:pt x="1003" y="1353"/>
                    </a:cubicBezTo>
                    <a:cubicBezTo>
                      <a:pt x="1079" y="1353"/>
                      <a:pt x="1151" y="1328"/>
                      <a:pt x="1208" y="1286"/>
                    </a:cubicBezTo>
                    <a:cubicBezTo>
                      <a:pt x="1343" y="1449"/>
                      <a:pt x="1343" y="1449"/>
                      <a:pt x="1343" y="1449"/>
                    </a:cubicBezTo>
                    <a:cubicBezTo>
                      <a:pt x="1296" y="1495"/>
                      <a:pt x="1267" y="1558"/>
                      <a:pt x="1267" y="1629"/>
                    </a:cubicBezTo>
                    <a:cubicBezTo>
                      <a:pt x="1267" y="1767"/>
                      <a:pt x="1380" y="1880"/>
                      <a:pt x="1519" y="1880"/>
                    </a:cubicBezTo>
                    <a:cubicBezTo>
                      <a:pt x="1658" y="1880"/>
                      <a:pt x="1771" y="1767"/>
                      <a:pt x="1771" y="1629"/>
                    </a:cubicBezTo>
                    <a:cubicBezTo>
                      <a:pt x="1771" y="1490"/>
                      <a:pt x="1658" y="1377"/>
                      <a:pt x="1519" y="1377"/>
                    </a:cubicBezTo>
                    <a:cubicBezTo>
                      <a:pt x="1466" y="1377"/>
                      <a:pt x="1417" y="1393"/>
                      <a:pt x="1377" y="1421"/>
                    </a:cubicBezTo>
                    <a:cubicBezTo>
                      <a:pt x="1242" y="1258"/>
                      <a:pt x="1242" y="1258"/>
                      <a:pt x="1242" y="1258"/>
                    </a:cubicBezTo>
                    <a:cubicBezTo>
                      <a:pt x="1306" y="1199"/>
                      <a:pt x="1347" y="1116"/>
                      <a:pt x="1353" y="1024"/>
                    </a:cubicBezTo>
                    <a:close/>
                    <a:moveTo>
                      <a:pt x="1563" y="980"/>
                    </a:moveTo>
                    <a:cubicBezTo>
                      <a:pt x="1574" y="909"/>
                      <a:pt x="1635" y="855"/>
                      <a:pt x="1709" y="855"/>
                    </a:cubicBezTo>
                    <a:cubicBezTo>
                      <a:pt x="1790" y="855"/>
                      <a:pt x="1856" y="921"/>
                      <a:pt x="1856" y="1002"/>
                    </a:cubicBezTo>
                    <a:cubicBezTo>
                      <a:pt x="1856" y="1083"/>
                      <a:pt x="1790" y="1149"/>
                      <a:pt x="1709" y="1149"/>
                    </a:cubicBezTo>
                    <a:cubicBezTo>
                      <a:pt x="1635" y="1149"/>
                      <a:pt x="1574" y="1095"/>
                      <a:pt x="1563" y="1024"/>
                    </a:cubicBezTo>
                    <a:cubicBezTo>
                      <a:pt x="1562" y="1017"/>
                      <a:pt x="1562" y="1009"/>
                      <a:pt x="1562" y="1002"/>
                    </a:cubicBezTo>
                    <a:cubicBezTo>
                      <a:pt x="1562" y="995"/>
                      <a:pt x="1562" y="987"/>
                      <a:pt x="1563" y="980"/>
                    </a:cubicBezTo>
                    <a:close/>
                    <a:moveTo>
                      <a:pt x="1245" y="199"/>
                    </a:moveTo>
                    <a:cubicBezTo>
                      <a:pt x="1245" y="138"/>
                      <a:pt x="1294" y="88"/>
                      <a:pt x="1356" y="88"/>
                    </a:cubicBezTo>
                    <a:cubicBezTo>
                      <a:pt x="1417" y="88"/>
                      <a:pt x="1467" y="138"/>
                      <a:pt x="1467" y="199"/>
                    </a:cubicBezTo>
                    <a:cubicBezTo>
                      <a:pt x="1467" y="260"/>
                      <a:pt x="1417" y="310"/>
                      <a:pt x="1356" y="310"/>
                    </a:cubicBezTo>
                    <a:cubicBezTo>
                      <a:pt x="1348" y="310"/>
                      <a:pt x="1340" y="309"/>
                      <a:pt x="1332" y="307"/>
                    </a:cubicBezTo>
                    <a:cubicBezTo>
                      <a:pt x="1317" y="304"/>
                      <a:pt x="1304" y="298"/>
                      <a:pt x="1292" y="289"/>
                    </a:cubicBezTo>
                    <a:cubicBezTo>
                      <a:pt x="1263" y="269"/>
                      <a:pt x="1245" y="236"/>
                      <a:pt x="1245" y="199"/>
                    </a:cubicBezTo>
                    <a:close/>
                    <a:moveTo>
                      <a:pt x="252" y="460"/>
                    </a:moveTo>
                    <a:cubicBezTo>
                      <a:pt x="138" y="460"/>
                      <a:pt x="44" y="367"/>
                      <a:pt x="44" y="252"/>
                    </a:cubicBezTo>
                    <a:cubicBezTo>
                      <a:pt x="44" y="137"/>
                      <a:pt x="138" y="44"/>
                      <a:pt x="252" y="44"/>
                    </a:cubicBezTo>
                    <a:cubicBezTo>
                      <a:pt x="367" y="44"/>
                      <a:pt x="460" y="137"/>
                      <a:pt x="460" y="252"/>
                    </a:cubicBezTo>
                    <a:cubicBezTo>
                      <a:pt x="460" y="301"/>
                      <a:pt x="443" y="347"/>
                      <a:pt x="414" y="382"/>
                    </a:cubicBezTo>
                    <a:cubicBezTo>
                      <a:pt x="405" y="394"/>
                      <a:pt x="394" y="404"/>
                      <a:pt x="383" y="413"/>
                    </a:cubicBezTo>
                    <a:cubicBezTo>
                      <a:pt x="347" y="442"/>
                      <a:pt x="302" y="460"/>
                      <a:pt x="252" y="460"/>
                    </a:cubicBezTo>
                    <a:close/>
                    <a:moveTo>
                      <a:pt x="629" y="1629"/>
                    </a:moveTo>
                    <a:cubicBezTo>
                      <a:pt x="629" y="1778"/>
                      <a:pt x="508" y="1899"/>
                      <a:pt x="359" y="1899"/>
                    </a:cubicBezTo>
                    <a:cubicBezTo>
                      <a:pt x="210" y="1899"/>
                      <a:pt x="89" y="1778"/>
                      <a:pt x="89" y="1629"/>
                    </a:cubicBezTo>
                    <a:cubicBezTo>
                      <a:pt x="89" y="1479"/>
                      <a:pt x="210" y="1358"/>
                      <a:pt x="359" y="1358"/>
                    </a:cubicBezTo>
                    <a:cubicBezTo>
                      <a:pt x="427" y="1358"/>
                      <a:pt x="489" y="1383"/>
                      <a:pt x="536" y="1425"/>
                    </a:cubicBezTo>
                    <a:cubicBezTo>
                      <a:pt x="547" y="1435"/>
                      <a:pt x="558" y="1445"/>
                      <a:pt x="567" y="1456"/>
                    </a:cubicBezTo>
                    <a:cubicBezTo>
                      <a:pt x="606" y="1503"/>
                      <a:pt x="629" y="1563"/>
                      <a:pt x="629" y="1629"/>
                    </a:cubicBezTo>
                    <a:close/>
                    <a:moveTo>
                      <a:pt x="1405" y="1455"/>
                    </a:moveTo>
                    <a:cubicBezTo>
                      <a:pt x="1437" y="1433"/>
                      <a:pt x="1477" y="1421"/>
                      <a:pt x="1519" y="1421"/>
                    </a:cubicBezTo>
                    <a:cubicBezTo>
                      <a:pt x="1634" y="1421"/>
                      <a:pt x="1727" y="1514"/>
                      <a:pt x="1727" y="1629"/>
                    </a:cubicBezTo>
                    <a:cubicBezTo>
                      <a:pt x="1727" y="1743"/>
                      <a:pt x="1634" y="1836"/>
                      <a:pt x="1519" y="1836"/>
                    </a:cubicBezTo>
                    <a:cubicBezTo>
                      <a:pt x="1404" y="1836"/>
                      <a:pt x="1311" y="1743"/>
                      <a:pt x="1311" y="1629"/>
                    </a:cubicBezTo>
                    <a:cubicBezTo>
                      <a:pt x="1311" y="1572"/>
                      <a:pt x="1334" y="1521"/>
                      <a:pt x="1371" y="1483"/>
                    </a:cubicBezTo>
                    <a:cubicBezTo>
                      <a:pt x="1381" y="1473"/>
                      <a:pt x="1392" y="1463"/>
                      <a:pt x="1405" y="1455"/>
                    </a:cubicBezTo>
                    <a:close/>
                    <a:moveTo>
                      <a:pt x="1214" y="1224"/>
                    </a:moveTo>
                    <a:cubicBezTo>
                      <a:pt x="1204" y="1234"/>
                      <a:pt x="1192" y="1244"/>
                      <a:pt x="1180" y="1252"/>
                    </a:cubicBezTo>
                    <a:cubicBezTo>
                      <a:pt x="1130" y="1288"/>
                      <a:pt x="1069" y="1309"/>
                      <a:pt x="1003" y="1309"/>
                    </a:cubicBezTo>
                    <a:cubicBezTo>
                      <a:pt x="924" y="1309"/>
                      <a:pt x="853" y="1280"/>
                      <a:pt x="798" y="1231"/>
                    </a:cubicBezTo>
                    <a:cubicBezTo>
                      <a:pt x="787" y="1222"/>
                      <a:pt x="777" y="1211"/>
                      <a:pt x="768" y="1200"/>
                    </a:cubicBezTo>
                    <a:cubicBezTo>
                      <a:pt x="723" y="1146"/>
                      <a:pt x="695" y="1077"/>
                      <a:pt x="695" y="1002"/>
                    </a:cubicBezTo>
                    <a:cubicBezTo>
                      <a:pt x="695" y="925"/>
                      <a:pt x="724" y="855"/>
                      <a:pt x="770" y="801"/>
                    </a:cubicBezTo>
                    <a:cubicBezTo>
                      <a:pt x="780" y="790"/>
                      <a:pt x="790" y="780"/>
                      <a:pt x="802" y="770"/>
                    </a:cubicBezTo>
                    <a:cubicBezTo>
                      <a:pt x="855" y="723"/>
                      <a:pt x="926" y="695"/>
                      <a:pt x="1003" y="695"/>
                    </a:cubicBezTo>
                    <a:cubicBezTo>
                      <a:pt x="1039" y="695"/>
                      <a:pt x="1073" y="701"/>
                      <a:pt x="1106" y="713"/>
                    </a:cubicBezTo>
                    <a:cubicBezTo>
                      <a:pt x="1120" y="718"/>
                      <a:pt x="1133" y="724"/>
                      <a:pt x="1146" y="730"/>
                    </a:cubicBezTo>
                    <a:cubicBezTo>
                      <a:pt x="1237" y="779"/>
                      <a:pt x="1301" y="872"/>
                      <a:pt x="1309" y="980"/>
                    </a:cubicBezTo>
                    <a:cubicBezTo>
                      <a:pt x="1309" y="987"/>
                      <a:pt x="1310" y="995"/>
                      <a:pt x="1310" y="1002"/>
                    </a:cubicBezTo>
                    <a:cubicBezTo>
                      <a:pt x="1310" y="1009"/>
                      <a:pt x="1309" y="1017"/>
                      <a:pt x="1309" y="1024"/>
                    </a:cubicBezTo>
                    <a:cubicBezTo>
                      <a:pt x="1303" y="1103"/>
                      <a:pt x="1268" y="1173"/>
                      <a:pt x="1214" y="122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74066" tIns="37033" rIns="74066" bIns="3703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56"/>
              <p:cNvSpPr>
                <a:spLocks noChangeArrowheads="1"/>
              </p:cNvSpPr>
              <p:nvPr/>
            </p:nvSpPr>
            <p:spPr bwMode="auto">
              <a:xfrm>
                <a:off x="5459504" y="2764424"/>
                <a:ext cx="1312612" cy="1345000"/>
              </a:xfrm>
              <a:custGeom>
                <a:avLst/>
                <a:gdLst>
                  <a:gd name="connsiteX0" fmla="*/ 1089071 w 1312612"/>
                  <a:gd name="connsiteY0" fmla="*/ 1048073 h 1345000"/>
                  <a:gd name="connsiteX1" fmla="*/ 1214102 w 1312612"/>
                  <a:gd name="connsiteY1" fmla="*/ 1172563 h 1345000"/>
                  <a:gd name="connsiteX2" fmla="*/ 1089071 w 1312612"/>
                  <a:gd name="connsiteY2" fmla="*/ 1297053 h 1345000"/>
                  <a:gd name="connsiteX3" fmla="*/ 964040 w 1312612"/>
                  <a:gd name="connsiteY3" fmla="*/ 1172563 h 1345000"/>
                  <a:gd name="connsiteX4" fmla="*/ 1089071 w 1312612"/>
                  <a:gd name="connsiteY4" fmla="*/ 1048073 h 1345000"/>
                  <a:gd name="connsiteX5" fmla="*/ 205860 w 1312612"/>
                  <a:gd name="connsiteY5" fmla="*/ 1000128 h 1345000"/>
                  <a:gd name="connsiteX6" fmla="*/ 378041 w 1312612"/>
                  <a:gd name="connsiteY6" fmla="*/ 1172564 h 1345000"/>
                  <a:gd name="connsiteX7" fmla="*/ 205860 w 1312612"/>
                  <a:gd name="connsiteY7" fmla="*/ 1345000 h 1345000"/>
                  <a:gd name="connsiteX8" fmla="*/ 33679 w 1312612"/>
                  <a:gd name="connsiteY8" fmla="*/ 1172564 h 1345000"/>
                  <a:gd name="connsiteX9" fmla="*/ 205860 w 1312612"/>
                  <a:gd name="connsiteY9" fmla="*/ 1000128 h 1345000"/>
                  <a:gd name="connsiteX10" fmla="*/ 1233888 w 1312612"/>
                  <a:gd name="connsiteY10" fmla="*/ 617404 h 1345000"/>
                  <a:gd name="connsiteX11" fmla="*/ 1312612 w 1312612"/>
                  <a:gd name="connsiteY11" fmla="*/ 695631 h 1345000"/>
                  <a:gd name="connsiteX12" fmla="*/ 1233888 w 1312612"/>
                  <a:gd name="connsiteY12" fmla="*/ 773858 h 1345000"/>
                  <a:gd name="connsiteX13" fmla="*/ 1155164 w 1312612"/>
                  <a:gd name="connsiteY13" fmla="*/ 695631 h 1345000"/>
                  <a:gd name="connsiteX14" fmla="*/ 1233888 w 1312612"/>
                  <a:gd name="connsiteY14" fmla="*/ 617404 h 1345000"/>
                  <a:gd name="connsiteX15" fmla="*/ 695878 w 1312612"/>
                  <a:gd name="connsiteY15" fmla="*/ 495438 h 1345000"/>
                  <a:gd name="connsiteX16" fmla="*/ 896685 w 1312612"/>
                  <a:gd name="connsiteY16" fmla="*/ 695632 h 1345000"/>
                  <a:gd name="connsiteX17" fmla="*/ 695878 w 1312612"/>
                  <a:gd name="connsiteY17" fmla="*/ 895826 h 1345000"/>
                  <a:gd name="connsiteX18" fmla="*/ 495071 w 1312612"/>
                  <a:gd name="connsiteY18" fmla="*/ 695632 h 1345000"/>
                  <a:gd name="connsiteX19" fmla="*/ 695878 w 1312612"/>
                  <a:gd name="connsiteY19" fmla="*/ 495438 h 1345000"/>
                  <a:gd name="connsiteX20" fmla="*/ 965304 w 1312612"/>
                  <a:gd name="connsiteY20" fmla="*/ 33646 h 1345000"/>
                  <a:gd name="connsiteX21" fmla="*/ 1016243 w 1312612"/>
                  <a:gd name="connsiteY21" fmla="*/ 84536 h 1345000"/>
                  <a:gd name="connsiteX22" fmla="*/ 965304 w 1312612"/>
                  <a:gd name="connsiteY22" fmla="*/ 135426 h 1345000"/>
                  <a:gd name="connsiteX23" fmla="*/ 914365 w 1312612"/>
                  <a:gd name="connsiteY23" fmla="*/ 84536 h 1345000"/>
                  <a:gd name="connsiteX24" fmla="*/ 965304 w 1312612"/>
                  <a:gd name="connsiteY24" fmla="*/ 33646 h 1345000"/>
                  <a:gd name="connsiteX25" fmla="*/ 124610 w 1312612"/>
                  <a:gd name="connsiteY25" fmla="*/ 0 h 1345000"/>
                  <a:gd name="connsiteX26" fmla="*/ 249220 w 1312612"/>
                  <a:gd name="connsiteY26" fmla="*/ 124911 h 1345000"/>
                  <a:gd name="connsiteX27" fmla="*/ 124610 w 1312612"/>
                  <a:gd name="connsiteY27" fmla="*/ 249822 h 1345000"/>
                  <a:gd name="connsiteX28" fmla="*/ 0 w 1312612"/>
                  <a:gd name="connsiteY28" fmla="*/ 124911 h 1345000"/>
                  <a:gd name="connsiteX29" fmla="*/ 124610 w 1312612"/>
                  <a:gd name="connsiteY29" fmla="*/ 0 h 134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12612" h="1345000">
                    <a:moveTo>
                      <a:pt x="1089071" y="1048073"/>
                    </a:moveTo>
                    <a:cubicBezTo>
                      <a:pt x="1158124" y="1048073"/>
                      <a:pt x="1214102" y="1103809"/>
                      <a:pt x="1214102" y="1172563"/>
                    </a:cubicBezTo>
                    <a:cubicBezTo>
                      <a:pt x="1214102" y="1241317"/>
                      <a:pt x="1158124" y="1297053"/>
                      <a:pt x="1089071" y="1297053"/>
                    </a:cubicBezTo>
                    <a:cubicBezTo>
                      <a:pt x="1020018" y="1297053"/>
                      <a:pt x="964040" y="1241317"/>
                      <a:pt x="964040" y="1172563"/>
                    </a:cubicBezTo>
                    <a:cubicBezTo>
                      <a:pt x="964040" y="1103809"/>
                      <a:pt x="1020018" y="1048073"/>
                      <a:pt x="1089071" y="1048073"/>
                    </a:cubicBezTo>
                    <a:close/>
                    <a:moveTo>
                      <a:pt x="205860" y="1000128"/>
                    </a:moveTo>
                    <a:cubicBezTo>
                      <a:pt x="300953" y="1000128"/>
                      <a:pt x="378041" y="1077330"/>
                      <a:pt x="378041" y="1172564"/>
                    </a:cubicBezTo>
                    <a:cubicBezTo>
                      <a:pt x="378041" y="1267798"/>
                      <a:pt x="300953" y="1345000"/>
                      <a:pt x="205860" y="1345000"/>
                    </a:cubicBezTo>
                    <a:cubicBezTo>
                      <a:pt x="110767" y="1345000"/>
                      <a:pt x="33679" y="1267798"/>
                      <a:pt x="33679" y="1172564"/>
                    </a:cubicBezTo>
                    <a:cubicBezTo>
                      <a:pt x="33679" y="1077330"/>
                      <a:pt x="110767" y="1000128"/>
                      <a:pt x="205860" y="1000128"/>
                    </a:cubicBezTo>
                    <a:close/>
                    <a:moveTo>
                      <a:pt x="1233888" y="617404"/>
                    </a:moveTo>
                    <a:cubicBezTo>
                      <a:pt x="1277366" y="617404"/>
                      <a:pt x="1312612" y="652427"/>
                      <a:pt x="1312612" y="695631"/>
                    </a:cubicBezTo>
                    <a:cubicBezTo>
                      <a:pt x="1312612" y="738835"/>
                      <a:pt x="1277366" y="773858"/>
                      <a:pt x="1233888" y="773858"/>
                    </a:cubicBezTo>
                    <a:cubicBezTo>
                      <a:pt x="1190410" y="773858"/>
                      <a:pt x="1155164" y="738835"/>
                      <a:pt x="1155164" y="695631"/>
                    </a:cubicBezTo>
                    <a:cubicBezTo>
                      <a:pt x="1155164" y="652427"/>
                      <a:pt x="1190410" y="617404"/>
                      <a:pt x="1233888" y="617404"/>
                    </a:cubicBezTo>
                    <a:close/>
                    <a:moveTo>
                      <a:pt x="695878" y="495438"/>
                    </a:moveTo>
                    <a:cubicBezTo>
                      <a:pt x="806781" y="495438"/>
                      <a:pt x="896685" y="585068"/>
                      <a:pt x="896685" y="695632"/>
                    </a:cubicBezTo>
                    <a:cubicBezTo>
                      <a:pt x="896685" y="806196"/>
                      <a:pt x="806781" y="895826"/>
                      <a:pt x="695878" y="895826"/>
                    </a:cubicBezTo>
                    <a:cubicBezTo>
                      <a:pt x="584975" y="895826"/>
                      <a:pt x="495071" y="806196"/>
                      <a:pt x="495071" y="695632"/>
                    </a:cubicBezTo>
                    <a:cubicBezTo>
                      <a:pt x="495071" y="585068"/>
                      <a:pt x="584975" y="495438"/>
                      <a:pt x="695878" y="495438"/>
                    </a:cubicBezTo>
                    <a:close/>
                    <a:moveTo>
                      <a:pt x="965304" y="33646"/>
                    </a:moveTo>
                    <a:cubicBezTo>
                      <a:pt x="993437" y="33646"/>
                      <a:pt x="1016243" y="56430"/>
                      <a:pt x="1016243" y="84536"/>
                    </a:cubicBezTo>
                    <a:cubicBezTo>
                      <a:pt x="1016243" y="112642"/>
                      <a:pt x="993437" y="135426"/>
                      <a:pt x="965304" y="135426"/>
                    </a:cubicBezTo>
                    <a:cubicBezTo>
                      <a:pt x="937171" y="135426"/>
                      <a:pt x="914365" y="112642"/>
                      <a:pt x="914365" y="84536"/>
                    </a:cubicBezTo>
                    <a:cubicBezTo>
                      <a:pt x="914365" y="56430"/>
                      <a:pt x="937171" y="33646"/>
                      <a:pt x="965304" y="33646"/>
                    </a:cubicBezTo>
                    <a:close/>
                    <a:moveTo>
                      <a:pt x="124610" y="0"/>
                    </a:moveTo>
                    <a:cubicBezTo>
                      <a:pt x="193430" y="0"/>
                      <a:pt x="249220" y="55925"/>
                      <a:pt x="249220" y="124911"/>
                    </a:cubicBezTo>
                    <a:cubicBezTo>
                      <a:pt x="249220" y="193897"/>
                      <a:pt x="193430" y="249822"/>
                      <a:pt x="124610" y="249822"/>
                    </a:cubicBezTo>
                    <a:cubicBezTo>
                      <a:pt x="55790" y="249822"/>
                      <a:pt x="0" y="193897"/>
                      <a:pt x="0" y="124911"/>
                    </a:cubicBezTo>
                    <a:cubicBezTo>
                      <a:pt x="0" y="55925"/>
                      <a:pt x="55790" y="0"/>
                      <a:pt x="12461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74066" tIns="37033" rIns="74066" bIns="3703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64" name="Straight Connector 63"/>
          <p:cNvCxnSpPr/>
          <p:nvPr/>
        </p:nvCxnSpPr>
        <p:spPr>
          <a:xfrm>
            <a:off x="6499714" y="1626631"/>
            <a:ext cx="0" cy="1152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/>
          <p:cNvGrpSpPr/>
          <p:nvPr/>
        </p:nvGrpSpPr>
        <p:grpSpPr>
          <a:xfrm>
            <a:off x="6365560" y="2112184"/>
            <a:ext cx="282075" cy="259040"/>
            <a:chOff x="4843364" y="3319364"/>
            <a:chExt cx="219273" cy="219273"/>
          </a:xfrm>
        </p:grpSpPr>
        <p:sp>
          <p:nvSpPr>
            <p:cNvPr id="73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ee4pContent3"/>
          <p:cNvSpPr txBox="1"/>
          <p:nvPr/>
        </p:nvSpPr>
        <p:spPr>
          <a:xfrm>
            <a:off x="6633869" y="3044480"/>
            <a:ext cx="5088651" cy="92576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ющее население охватывает несколько поколений ввиду старения населения и притока поколения Z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ущая вовлеченность в труд женщин, но в основном в низкооплачиваемых профессиях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дисбалансы и "война за таланты"</a:t>
            </a:r>
          </a:p>
        </p:txBody>
      </p:sp>
      <p:sp>
        <p:nvSpPr>
          <p:cNvPr id="83" name="ee4pContent3"/>
          <p:cNvSpPr txBox="1"/>
          <p:nvPr/>
        </p:nvSpPr>
        <p:spPr>
          <a:xfrm>
            <a:off x="6633869" y="4328893"/>
            <a:ext cx="5405726" cy="103999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 err="1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клюзивность</a:t>
            </a:r>
            <a:r>
              <a:rPr lang="ru-RU" sz="13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жет стать основным источником формирования рабочих мест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 требований к условиям труда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ость гибких форм занятости растет, при этом у человека может быть несколько работ с гибкой занятостью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3154903" y="4925298"/>
            <a:ext cx="390258" cy="360335"/>
            <a:chOff x="5245894" y="2610009"/>
            <a:chExt cx="1644650" cy="1644650"/>
          </a:xfrm>
        </p:grpSpPr>
        <p:sp>
          <p:nvSpPr>
            <p:cNvPr id="85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45894" y="2610009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5394325" y="2863215"/>
              <a:ext cx="1347788" cy="1138238"/>
              <a:chOff x="5219700" y="2868613"/>
              <a:chExt cx="1347788" cy="1138238"/>
            </a:xfrm>
          </p:grpSpPr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5270500" y="3598863"/>
                <a:ext cx="1276350" cy="344488"/>
              </a:xfrm>
              <a:custGeom>
                <a:avLst/>
                <a:gdLst>
                  <a:gd name="T0" fmla="*/ 1526 w 1788"/>
                  <a:gd name="T1" fmla="*/ 119 h 484"/>
                  <a:gd name="T2" fmla="*/ 1566 w 1788"/>
                  <a:gd name="T3" fmla="*/ 191 h 484"/>
                  <a:gd name="T4" fmla="*/ 1534 w 1788"/>
                  <a:gd name="T5" fmla="*/ 279 h 484"/>
                  <a:gd name="T6" fmla="*/ 1506 w 1788"/>
                  <a:gd name="T7" fmla="*/ 285 h 484"/>
                  <a:gd name="T8" fmla="*/ 1446 w 1788"/>
                  <a:gd name="T9" fmla="*/ 246 h 484"/>
                  <a:gd name="T10" fmla="*/ 1331 w 1788"/>
                  <a:gd name="T11" fmla="*/ 118 h 484"/>
                  <a:gd name="T12" fmla="*/ 1268 w 1788"/>
                  <a:gd name="T13" fmla="*/ 106 h 484"/>
                  <a:gd name="T14" fmla="*/ 1185 w 1788"/>
                  <a:gd name="T15" fmla="*/ 116 h 484"/>
                  <a:gd name="T16" fmla="*/ 1088 w 1788"/>
                  <a:gd name="T17" fmla="*/ 128 h 484"/>
                  <a:gd name="T18" fmla="*/ 1048 w 1788"/>
                  <a:gd name="T19" fmla="*/ 125 h 484"/>
                  <a:gd name="T20" fmla="*/ 942 w 1788"/>
                  <a:gd name="T21" fmla="*/ 260 h 484"/>
                  <a:gd name="T22" fmla="*/ 890 w 1788"/>
                  <a:gd name="T23" fmla="*/ 285 h 484"/>
                  <a:gd name="T24" fmla="*/ 849 w 1788"/>
                  <a:gd name="T25" fmla="*/ 271 h 484"/>
                  <a:gd name="T26" fmla="*/ 825 w 1788"/>
                  <a:gd name="T27" fmla="*/ 227 h 484"/>
                  <a:gd name="T28" fmla="*/ 838 w 1788"/>
                  <a:gd name="T29" fmla="*/ 178 h 484"/>
                  <a:gd name="T30" fmla="*/ 929 w 1788"/>
                  <a:gd name="T31" fmla="*/ 62 h 484"/>
                  <a:gd name="T32" fmla="*/ 886 w 1788"/>
                  <a:gd name="T33" fmla="*/ 0 h 484"/>
                  <a:gd name="T34" fmla="*/ 715 w 1788"/>
                  <a:gd name="T35" fmla="*/ 12 h 484"/>
                  <a:gd name="T36" fmla="*/ 759 w 1788"/>
                  <a:gd name="T37" fmla="*/ 189 h 484"/>
                  <a:gd name="T38" fmla="*/ 656 w 1788"/>
                  <a:gd name="T39" fmla="*/ 263 h 484"/>
                  <a:gd name="T40" fmla="*/ 599 w 1788"/>
                  <a:gd name="T41" fmla="*/ 241 h 484"/>
                  <a:gd name="T42" fmla="*/ 524 w 1788"/>
                  <a:gd name="T43" fmla="*/ 48 h 484"/>
                  <a:gd name="T44" fmla="*/ 0 w 1788"/>
                  <a:gd name="T45" fmla="*/ 480 h 484"/>
                  <a:gd name="T46" fmla="*/ 510 w 1788"/>
                  <a:gd name="T47" fmla="*/ 321 h 484"/>
                  <a:gd name="T48" fmla="*/ 536 w 1788"/>
                  <a:gd name="T49" fmla="*/ 321 h 484"/>
                  <a:gd name="T50" fmla="*/ 860 w 1788"/>
                  <a:gd name="T51" fmla="*/ 404 h 484"/>
                  <a:gd name="T52" fmla="*/ 1094 w 1788"/>
                  <a:gd name="T53" fmla="*/ 477 h 484"/>
                  <a:gd name="T54" fmla="*/ 1200 w 1788"/>
                  <a:gd name="T55" fmla="*/ 484 h 484"/>
                  <a:gd name="T56" fmla="*/ 1754 w 1788"/>
                  <a:gd name="T57" fmla="*/ 330 h 484"/>
                  <a:gd name="T58" fmla="*/ 1788 w 1788"/>
                  <a:gd name="T59" fmla="*/ 321 h 484"/>
                  <a:gd name="T60" fmla="*/ 1526 w 1788"/>
                  <a:gd name="T61" fmla="*/ 119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8" h="484">
                    <a:moveTo>
                      <a:pt x="1526" y="119"/>
                    </a:moveTo>
                    <a:cubicBezTo>
                      <a:pt x="1541" y="141"/>
                      <a:pt x="1554" y="165"/>
                      <a:pt x="1566" y="191"/>
                    </a:cubicBezTo>
                    <a:cubicBezTo>
                      <a:pt x="1581" y="224"/>
                      <a:pt x="1567" y="264"/>
                      <a:pt x="1534" y="279"/>
                    </a:cubicBezTo>
                    <a:cubicBezTo>
                      <a:pt x="1525" y="283"/>
                      <a:pt x="1516" y="285"/>
                      <a:pt x="1506" y="285"/>
                    </a:cubicBezTo>
                    <a:cubicBezTo>
                      <a:pt x="1480" y="285"/>
                      <a:pt x="1457" y="270"/>
                      <a:pt x="1446" y="246"/>
                    </a:cubicBezTo>
                    <a:cubicBezTo>
                      <a:pt x="1416" y="180"/>
                      <a:pt x="1377" y="137"/>
                      <a:pt x="1331" y="118"/>
                    </a:cubicBezTo>
                    <a:cubicBezTo>
                      <a:pt x="1311" y="110"/>
                      <a:pt x="1292" y="106"/>
                      <a:pt x="1268" y="106"/>
                    </a:cubicBezTo>
                    <a:cubicBezTo>
                      <a:pt x="1241" y="106"/>
                      <a:pt x="1214" y="111"/>
                      <a:pt x="1185" y="116"/>
                    </a:cubicBezTo>
                    <a:cubicBezTo>
                      <a:pt x="1154" y="122"/>
                      <a:pt x="1122" y="128"/>
                      <a:pt x="1088" y="128"/>
                    </a:cubicBezTo>
                    <a:cubicBezTo>
                      <a:pt x="1074" y="128"/>
                      <a:pt x="1061" y="127"/>
                      <a:pt x="1048" y="125"/>
                    </a:cubicBezTo>
                    <a:cubicBezTo>
                      <a:pt x="942" y="260"/>
                      <a:pt x="942" y="260"/>
                      <a:pt x="942" y="260"/>
                    </a:cubicBezTo>
                    <a:cubicBezTo>
                      <a:pt x="929" y="276"/>
                      <a:pt x="910" y="285"/>
                      <a:pt x="890" y="285"/>
                    </a:cubicBezTo>
                    <a:cubicBezTo>
                      <a:pt x="875" y="285"/>
                      <a:pt x="861" y="280"/>
                      <a:pt x="849" y="271"/>
                    </a:cubicBezTo>
                    <a:cubicBezTo>
                      <a:pt x="835" y="260"/>
                      <a:pt x="827" y="244"/>
                      <a:pt x="825" y="227"/>
                    </a:cubicBezTo>
                    <a:cubicBezTo>
                      <a:pt x="822" y="209"/>
                      <a:pt x="827" y="192"/>
                      <a:pt x="838" y="178"/>
                    </a:cubicBezTo>
                    <a:cubicBezTo>
                      <a:pt x="929" y="62"/>
                      <a:pt x="929" y="62"/>
                      <a:pt x="929" y="62"/>
                    </a:cubicBezTo>
                    <a:cubicBezTo>
                      <a:pt x="913" y="44"/>
                      <a:pt x="898" y="24"/>
                      <a:pt x="886" y="0"/>
                    </a:cubicBezTo>
                    <a:cubicBezTo>
                      <a:pt x="827" y="1"/>
                      <a:pt x="770" y="5"/>
                      <a:pt x="715" y="12"/>
                    </a:cubicBezTo>
                    <a:cubicBezTo>
                      <a:pt x="764" y="144"/>
                      <a:pt x="767" y="166"/>
                      <a:pt x="759" y="189"/>
                    </a:cubicBezTo>
                    <a:cubicBezTo>
                      <a:pt x="749" y="220"/>
                      <a:pt x="707" y="263"/>
                      <a:pt x="656" y="263"/>
                    </a:cubicBezTo>
                    <a:cubicBezTo>
                      <a:pt x="635" y="263"/>
                      <a:pt x="615" y="255"/>
                      <a:pt x="599" y="241"/>
                    </a:cubicBezTo>
                    <a:cubicBezTo>
                      <a:pt x="582" y="227"/>
                      <a:pt x="566" y="190"/>
                      <a:pt x="524" y="48"/>
                    </a:cubicBezTo>
                    <a:cubicBezTo>
                      <a:pt x="221" y="126"/>
                      <a:pt x="10" y="289"/>
                      <a:pt x="0" y="480"/>
                    </a:cubicBezTo>
                    <a:cubicBezTo>
                      <a:pt x="170" y="374"/>
                      <a:pt x="341" y="321"/>
                      <a:pt x="510" y="321"/>
                    </a:cubicBezTo>
                    <a:cubicBezTo>
                      <a:pt x="518" y="321"/>
                      <a:pt x="527" y="321"/>
                      <a:pt x="536" y="321"/>
                    </a:cubicBezTo>
                    <a:cubicBezTo>
                      <a:pt x="675" y="326"/>
                      <a:pt x="773" y="367"/>
                      <a:pt x="860" y="404"/>
                    </a:cubicBezTo>
                    <a:cubicBezTo>
                      <a:pt x="932" y="434"/>
                      <a:pt x="999" y="463"/>
                      <a:pt x="1094" y="477"/>
                    </a:cubicBezTo>
                    <a:cubicBezTo>
                      <a:pt x="1128" y="482"/>
                      <a:pt x="1164" y="484"/>
                      <a:pt x="1200" y="484"/>
                    </a:cubicBezTo>
                    <a:cubicBezTo>
                      <a:pt x="1366" y="484"/>
                      <a:pt x="1552" y="432"/>
                      <a:pt x="1754" y="330"/>
                    </a:cubicBezTo>
                    <a:cubicBezTo>
                      <a:pt x="1764" y="325"/>
                      <a:pt x="1776" y="322"/>
                      <a:pt x="1788" y="321"/>
                    </a:cubicBezTo>
                    <a:cubicBezTo>
                      <a:pt x="1734" y="243"/>
                      <a:pt x="1643" y="173"/>
                      <a:pt x="1526" y="11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87"/>
              <p:cNvSpPr>
                <a:spLocks noEditPoints="1"/>
              </p:cNvSpPr>
              <p:nvPr/>
            </p:nvSpPr>
            <p:spPr bwMode="auto">
              <a:xfrm>
                <a:off x="5219700" y="2868613"/>
                <a:ext cx="1347788" cy="1138238"/>
              </a:xfrm>
              <a:custGeom>
                <a:avLst/>
                <a:gdLst>
                  <a:gd name="T0" fmla="*/ 1559 w 1889"/>
                  <a:gd name="T1" fmla="*/ 1250 h 1594"/>
                  <a:gd name="T2" fmla="*/ 1250 w 1889"/>
                  <a:gd name="T3" fmla="*/ 1095 h 1594"/>
                  <a:gd name="T4" fmla="*/ 980 w 1889"/>
                  <a:gd name="T5" fmla="*/ 1254 h 1594"/>
                  <a:gd name="T6" fmla="*/ 946 w 1889"/>
                  <a:gd name="T7" fmla="*/ 1227 h 1594"/>
                  <a:gd name="T8" fmla="*/ 951 w 1889"/>
                  <a:gd name="T9" fmla="*/ 829 h 1594"/>
                  <a:gd name="T10" fmla="*/ 995 w 1889"/>
                  <a:gd name="T11" fmla="*/ 824 h 1594"/>
                  <a:gd name="T12" fmla="*/ 1242 w 1889"/>
                  <a:gd name="T13" fmla="*/ 1052 h 1594"/>
                  <a:gd name="T14" fmla="*/ 1599 w 1889"/>
                  <a:gd name="T15" fmla="*/ 1232 h 1594"/>
                  <a:gd name="T16" fmla="*/ 1579 w 1889"/>
                  <a:gd name="T17" fmla="*/ 1263 h 1594"/>
                  <a:gd name="T18" fmla="*/ 1883 w 1889"/>
                  <a:gd name="T19" fmla="*/ 1399 h 1594"/>
                  <a:gd name="T20" fmla="*/ 1158 w 1889"/>
                  <a:gd name="T21" fmla="*/ 1542 h 1594"/>
                  <a:gd name="T22" fmla="*/ 607 w 1889"/>
                  <a:gd name="T23" fmla="*/ 1387 h 1594"/>
                  <a:gd name="T24" fmla="*/ 84 w 1889"/>
                  <a:gd name="T25" fmla="*/ 1576 h 1594"/>
                  <a:gd name="T26" fmla="*/ 605 w 1889"/>
                  <a:gd name="T27" fmla="*/ 1431 h 1594"/>
                  <a:gd name="T28" fmla="*/ 1152 w 1889"/>
                  <a:gd name="T29" fmla="*/ 1586 h 1594"/>
                  <a:gd name="T30" fmla="*/ 1874 w 1889"/>
                  <a:gd name="T31" fmla="*/ 1429 h 1594"/>
                  <a:gd name="T32" fmla="*/ 221 w 1889"/>
                  <a:gd name="T33" fmla="*/ 348 h 1594"/>
                  <a:gd name="T34" fmla="*/ 246 w 1889"/>
                  <a:gd name="T35" fmla="*/ 669 h 1594"/>
                  <a:gd name="T36" fmla="*/ 288 w 1889"/>
                  <a:gd name="T37" fmla="*/ 653 h 1594"/>
                  <a:gd name="T38" fmla="*/ 367 w 1889"/>
                  <a:gd name="T39" fmla="*/ 389 h 1594"/>
                  <a:gd name="T40" fmla="*/ 427 w 1889"/>
                  <a:gd name="T41" fmla="*/ 339 h 1594"/>
                  <a:gd name="T42" fmla="*/ 790 w 1889"/>
                  <a:gd name="T43" fmla="*/ 1197 h 1594"/>
                  <a:gd name="T44" fmla="*/ 484 w 1889"/>
                  <a:gd name="T45" fmla="*/ 329 h 1594"/>
                  <a:gd name="T46" fmla="*/ 671 w 1889"/>
                  <a:gd name="T47" fmla="*/ 384 h 1594"/>
                  <a:gd name="T48" fmla="*/ 742 w 1889"/>
                  <a:gd name="T49" fmla="*/ 470 h 1594"/>
                  <a:gd name="T50" fmla="*/ 785 w 1889"/>
                  <a:gd name="T51" fmla="*/ 461 h 1594"/>
                  <a:gd name="T52" fmla="*/ 658 w 1889"/>
                  <a:gd name="T53" fmla="*/ 176 h 1594"/>
                  <a:gd name="T54" fmla="*/ 640 w 1889"/>
                  <a:gd name="T55" fmla="*/ 155 h 1594"/>
                  <a:gd name="T56" fmla="*/ 749 w 1889"/>
                  <a:gd name="T57" fmla="*/ 136 h 1594"/>
                  <a:gd name="T58" fmla="*/ 765 w 1889"/>
                  <a:gd name="T59" fmla="*/ 83 h 1594"/>
                  <a:gd name="T60" fmla="*/ 447 w 1889"/>
                  <a:gd name="T61" fmla="*/ 128 h 1594"/>
                  <a:gd name="T62" fmla="*/ 418 w 1889"/>
                  <a:gd name="T63" fmla="*/ 106 h 1594"/>
                  <a:gd name="T64" fmla="*/ 120 w 1889"/>
                  <a:gd name="T65" fmla="*/ 73 h 1594"/>
                  <a:gd name="T66" fmla="*/ 135 w 1889"/>
                  <a:gd name="T67" fmla="*/ 131 h 1594"/>
                  <a:gd name="T68" fmla="*/ 233 w 1889"/>
                  <a:gd name="T69" fmla="*/ 159 h 1594"/>
                  <a:gd name="T70" fmla="*/ 232 w 1889"/>
                  <a:gd name="T71" fmla="*/ 169 h 1594"/>
                  <a:gd name="T72" fmla="*/ 9 w 1889"/>
                  <a:gd name="T73" fmla="*/ 425 h 1594"/>
                  <a:gd name="T74" fmla="*/ 59 w 1889"/>
                  <a:gd name="T75" fmla="*/ 444 h 1594"/>
                  <a:gd name="T76" fmla="*/ 210 w 1889"/>
                  <a:gd name="T77" fmla="*/ 335 h 1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889" h="1594">
                    <a:moveTo>
                      <a:pt x="1579" y="1263"/>
                    </a:moveTo>
                    <a:cubicBezTo>
                      <a:pt x="1571" y="1263"/>
                      <a:pt x="1563" y="1258"/>
                      <a:pt x="1559" y="1250"/>
                    </a:cubicBezTo>
                    <a:cubicBezTo>
                      <a:pt x="1524" y="1174"/>
                      <a:pt x="1478" y="1123"/>
                      <a:pt x="1421" y="1099"/>
                    </a:cubicBezTo>
                    <a:cubicBezTo>
                      <a:pt x="1361" y="1074"/>
                      <a:pt x="1305" y="1085"/>
                      <a:pt x="1250" y="1095"/>
                    </a:cubicBezTo>
                    <a:cubicBezTo>
                      <a:pt x="1202" y="1104"/>
                      <a:pt x="1152" y="1114"/>
                      <a:pt x="1103" y="1098"/>
                    </a:cubicBezTo>
                    <a:cubicBezTo>
                      <a:pt x="980" y="1254"/>
                      <a:pt x="980" y="1254"/>
                      <a:pt x="980" y="1254"/>
                    </a:cubicBezTo>
                    <a:cubicBezTo>
                      <a:pt x="973" y="1264"/>
                      <a:pt x="959" y="1266"/>
                      <a:pt x="949" y="1258"/>
                    </a:cubicBezTo>
                    <a:cubicBezTo>
                      <a:pt x="940" y="1251"/>
                      <a:pt x="938" y="1237"/>
                      <a:pt x="946" y="1227"/>
                    </a:cubicBezTo>
                    <a:cubicBezTo>
                      <a:pt x="1063" y="1078"/>
                      <a:pt x="1063" y="1078"/>
                      <a:pt x="1063" y="1078"/>
                    </a:cubicBezTo>
                    <a:cubicBezTo>
                      <a:pt x="1002" y="1037"/>
                      <a:pt x="965" y="953"/>
                      <a:pt x="951" y="829"/>
                    </a:cubicBezTo>
                    <a:cubicBezTo>
                      <a:pt x="950" y="817"/>
                      <a:pt x="959" y="806"/>
                      <a:pt x="971" y="805"/>
                    </a:cubicBezTo>
                    <a:cubicBezTo>
                      <a:pt x="983" y="804"/>
                      <a:pt x="994" y="812"/>
                      <a:pt x="995" y="824"/>
                    </a:cubicBezTo>
                    <a:cubicBezTo>
                      <a:pt x="1008" y="943"/>
                      <a:pt x="1043" y="1018"/>
                      <a:pt x="1098" y="1047"/>
                    </a:cubicBezTo>
                    <a:cubicBezTo>
                      <a:pt x="1141" y="1071"/>
                      <a:pt x="1188" y="1062"/>
                      <a:pt x="1242" y="1052"/>
                    </a:cubicBezTo>
                    <a:cubicBezTo>
                      <a:pt x="1300" y="1041"/>
                      <a:pt x="1366" y="1029"/>
                      <a:pt x="1438" y="1059"/>
                    </a:cubicBezTo>
                    <a:cubicBezTo>
                      <a:pt x="1505" y="1087"/>
                      <a:pt x="1559" y="1145"/>
                      <a:pt x="1599" y="1232"/>
                    </a:cubicBezTo>
                    <a:cubicBezTo>
                      <a:pt x="1604" y="1243"/>
                      <a:pt x="1599" y="1256"/>
                      <a:pt x="1588" y="1261"/>
                    </a:cubicBezTo>
                    <a:cubicBezTo>
                      <a:pt x="1585" y="1262"/>
                      <a:pt x="1582" y="1263"/>
                      <a:pt x="1579" y="1263"/>
                    </a:cubicBezTo>
                    <a:close/>
                    <a:moveTo>
                      <a:pt x="1874" y="1429"/>
                    </a:moveTo>
                    <a:cubicBezTo>
                      <a:pt x="1884" y="1423"/>
                      <a:pt x="1889" y="1410"/>
                      <a:pt x="1883" y="1399"/>
                    </a:cubicBezTo>
                    <a:cubicBezTo>
                      <a:pt x="1878" y="1388"/>
                      <a:pt x="1865" y="1384"/>
                      <a:pt x="1854" y="1390"/>
                    </a:cubicBezTo>
                    <a:cubicBezTo>
                      <a:pt x="1596" y="1520"/>
                      <a:pt x="1362" y="1572"/>
                      <a:pt x="1158" y="1542"/>
                    </a:cubicBezTo>
                    <a:cubicBezTo>
                      <a:pt x="1056" y="1527"/>
                      <a:pt x="982" y="1496"/>
                      <a:pt x="909" y="1465"/>
                    </a:cubicBezTo>
                    <a:cubicBezTo>
                      <a:pt x="820" y="1427"/>
                      <a:pt x="735" y="1391"/>
                      <a:pt x="607" y="1387"/>
                    </a:cubicBezTo>
                    <a:cubicBezTo>
                      <a:pt x="437" y="1382"/>
                      <a:pt x="264" y="1435"/>
                      <a:pt x="91" y="1545"/>
                    </a:cubicBezTo>
                    <a:cubicBezTo>
                      <a:pt x="81" y="1552"/>
                      <a:pt x="78" y="1565"/>
                      <a:pt x="84" y="1576"/>
                    </a:cubicBezTo>
                    <a:cubicBezTo>
                      <a:pt x="91" y="1586"/>
                      <a:pt x="104" y="1589"/>
                      <a:pt x="115" y="1582"/>
                    </a:cubicBezTo>
                    <a:cubicBezTo>
                      <a:pt x="280" y="1477"/>
                      <a:pt x="445" y="1426"/>
                      <a:pt x="605" y="1431"/>
                    </a:cubicBezTo>
                    <a:cubicBezTo>
                      <a:pt x="725" y="1435"/>
                      <a:pt x="806" y="1469"/>
                      <a:pt x="892" y="1506"/>
                    </a:cubicBezTo>
                    <a:cubicBezTo>
                      <a:pt x="967" y="1537"/>
                      <a:pt x="1044" y="1570"/>
                      <a:pt x="1152" y="1586"/>
                    </a:cubicBezTo>
                    <a:cubicBezTo>
                      <a:pt x="1191" y="1591"/>
                      <a:pt x="1231" y="1594"/>
                      <a:pt x="1273" y="1594"/>
                    </a:cubicBezTo>
                    <a:cubicBezTo>
                      <a:pt x="1455" y="1594"/>
                      <a:pt x="1657" y="1539"/>
                      <a:pt x="1874" y="1429"/>
                    </a:cubicBezTo>
                    <a:close/>
                    <a:moveTo>
                      <a:pt x="211" y="335"/>
                    </a:moveTo>
                    <a:cubicBezTo>
                      <a:pt x="219" y="332"/>
                      <a:pt x="225" y="341"/>
                      <a:pt x="221" y="348"/>
                    </a:cubicBezTo>
                    <a:cubicBezTo>
                      <a:pt x="193" y="387"/>
                      <a:pt x="176" y="427"/>
                      <a:pt x="170" y="472"/>
                    </a:cubicBezTo>
                    <a:cubicBezTo>
                      <a:pt x="160" y="552"/>
                      <a:pt x="189" y="616"/>
                      <a:pt x="246" y="669"/>
                    </a:cubicBezTo>
                    <a:cubicBezTo>
                      <a:pt x="246" y="669"/>
                      <a:pt x="246" y="669"/>
                      <a:pt x="246" y="669"/>
                    </a:cubicBezTo>
                    <a:cubicBezTo>
                      <a:pt x="262" y="684"/>
                      <a:pt x="287" y="674"/>
                      <a:pt x="288" y="653"/>
                    </a:cubicBezTo>
                    <a:cubicBezTo>
                      <a:pt x="288" y="651"/>
                      <a:pt x="288" y="649"/>
                      <a:pt x="288" y="647"/>
                    </a:cubicBezTo>
                    <a:cubicBezTo>
                      <a:pt x="298" y="537"/>
                      <a:pt x="308" y="465"/>
                      <a:pt x="367" y="389"/>
                    </a:cubicBezTo>
                    <a:cubicBezTo>
                      <a:pt x="380" y="372"/>
                      <a:pt x="396" y="356"/>
                      <a:pt x="412" y="337"/>
                    </a:cubicBezTo>
                    <a:cubicBezTo>
                      <a:pt x="417" y="332"/>
                      <a:pt x="424" y="333"/>
                      <a:pt x="427" y="339"/>
                    </a:cubicBezTo>
                    <a:cubicBezTo>
                      <a:pt x="487" y="474"/>
                      <a:pt x="664" y="1199"/>
                      <a:pt x="700" y="1229"/>
                    </a:cubicBezTo>
                    <a:cubicBezTo>
                      <a:pt x="737" y="1261"/>
                      <a:pt x="783" y="1219"/>
                      <a:pt x="790" y="1197"/>
                    </a:cubicBezTo>
                    <a:cubicBezTo>
                      <a:pt x="798" y="1175"/>
                      <a:pt x="753" y="1064"/>
                      <a:pt x="588" y="634"/>
                    </a:cubicBezTo>
                    <a:cubicBezTo>
                      <a:pt x="512" y="438"/>
                      <a:pt x="499" y="415"/>
                      <a:pt x="484" y="329"/>
                    </a:cubicBezTo>
                    <a:cubicBezTo>
                      <a:pt x="484" y="323"/>
                      <a:pt x="487" y="319"/>
                      <a:pt x="493" y="318"/>
                    </a:cubicBezTo>
                    <a:cubicBezTo>
                      <a:pt x="558" y="316"/>
                      <a:pt x="622" y="331"/>
                      <a:pt x="671" y="384"/>
                    </a:cubicBezTo>
                    <a:cubicBezTo>
                      <a:pt x="695" y="409"/>
                      <a:pt x="716" y="438"/>
                      <a:pt x="738" y="465"/>
                    </a:cubicBezTo>
                    <a:cubicBezTo>
                      <a:pt x="739" y="466"/>
                      <a:pt x="740" y="468"/>
                      <a:pt x="742" y="470"/>
                    </a:cubicBezTo>
                    <a:cubicBezTo>
                      <a:pt x="754" y="486"/>
                      <a:pt x="780" y="481"/>
                      <a:pt x="785" y="461"/>
                    </a:cubicBezTo>
                    <a:cubicBezTo>
                      <a:pt x="785" y="461"/>
                      <a:pt x="785" y="461"/>
                      <a:pt x="785" y="461"/>
                    </a:cubicBezTo>
                    <a:cubicBezTo>
                      <a:pt x="798" y="407"/>
                      <a:pt x="800" y="353"/>
                      <a:pt x="782" y="299"/>
                    </a:cubicBezTo>
                    <a:cubicBezTo>
                      <a:pt x="762" y="237"/>
                      <a:pt x="720" y="197"/>
                      <a:pt x="658" y="176"/>
                    </a:cubicBezTo>
                    <a:cubicBezTo>
                      <a:pt x="653" y="175"/>
                      <a:pt x="649" y="174"/>
                      <a:pt x="640" y="172"/>
                    </a:cubicBezTo>
                    <a:cubicBezTo>
                      <a:pt x="632" y="170"/>
                      <a:pt x="631" y="158"/>
                      <a:pt x="640" y="155"/>
                    </a:cubicBezTo>
                    <a:cubicBezTo>
                      <a:pt x="674" y="145"/>
                      <a:pt x="699" y="141"/>
                      <a:pt x="749" y="136"/>
                    </a:cubicBezTo>
                    <a:cubicBezTo>
                      <a:pt x="749" y="136"/>
                      <a:pt x="749" y="136"/>
                      <a:pt x="749" y="136"/>
                    </a:cubicBezTo>
                    <a:cubicBezTo>
                      <a:pt x="775" y="134"/>
                      <a:pt x="786" y="101"/>
                      <a:pt x="767" y="84"/>
                    </a:cubicBezTo>
                    <a:cubicBezTo>
                      <a:pt x="766" y="84"/>
                      <a:pt x="766" y="83"/>
                      <a:pt x="765" y="83"/>
                    </a:cubicBezTo>
                    <a:cubicBezTo>
                      <a:pt x="672" y="3"/>
                      <a:pt x="533" y="20"/>
                      <a:pt x="453" y="119"/>
                    </a:cubicBezTo>
                    <a:cubicBezTo>
                      <a:pt x="451" y="122"/>
                      <a:pt x="449" y="124"/>
                      <a:pt x="447" y="128"/>
                    </a:cubicBezTo>
                    <a:cubicBezTo>
                      <a:pt x="443" y="132"/>
                      <a:pt x="436" y="132"/>
                      <a:pt x="433" y="127"/>
                    </a:cubicBezTo>
                    <a:cubicBezTo>
                      <a:pt x="428" y="120"/>
                      <a:pt x="424" y="113"/>
                      <a:pt x="418" y="106"/>
                    </a:cubicBezTo>
                    <a:cubicBezTo>
                      <a:pt x="339" y="15"/>
                      <a:pt x="217" y="0"/>
                      <a:pt x="120" y="72"/>
                    </a:cubicBezTo>
                    <a:cubicBezTo>
                      <a:pt x="120" y="73"/>
                      <a:pt x="120" y="73"/>
                      <a:pt x="120" y="73"/>
                    </a:cubicBezTo>
                    <a:cubicBezTo>
                      <a:pt x="119" y="73"/>
                      <a:pt x="119" y="73"/>
                      <a:pt x="119" y="74"/>
                    </a:cubicBezTo>
                    <a:cubicBezTo>
                      <a:pt x="98" y="92"/>
                      <a:pt x="107" y="127"/>
                      <a:pt x="135" y="131"/>
                    </a:cubicBezTo>
                    <a:cubicBezTo>
                      <a:pt x="135" y="132"/>
                      <a:pt x="135" y="132"/>
                      <a:pt x="135" y="132"/>
                    </a:cubicBezTo>
                    <a:cubicBezTo>
                      <a:pt x="163" y="137"/>
                      <a:pt x="210" y="151"/>
                      <a:pt x="233" y="159"/>
                    </a:cubicBezTo>
                    <a:cubicBezTo>
                      <a:pt x="239" y="161"/>
                      <a:pt x="238" y="168"/>
                      <a:pt x="232" y="169"/>
                    </a:cubicBezTo>
                    <a:cubicBezTo>
                      <a:pt x="232" y="169"/>
                      <a:pt x="232" y="169"/>
                      <a:pt x="232" y="169"/>
                    </a:cubicBezTo>
                    <a:cubicBezTo>
                      <a:pt x="96" y="179"/>
                      <a:pt x="0" y="288"/>
                      <a:pt x="9" y="424"/>
                    </a:cubicBezTo>
                    <a:cubicBezTo>
                      <a:pt x="9" y="424"/>
                      <a:pt x="9" y="425"/>
                      <a:pt x="9" y="425"/>
                    </a:cubicBezTo>
                    <a:cubicBezTo>
                      <a:pt x="10" y="427"/>
                      <a:pt x="10" y="429"/>
                      <a:pt x="10" y="431"/>
                    </a:cubicBezTo>
                    <a:cubicBezTo>
                      <a:pt x="14" y="454"/>
                      <a:pt x="44" y="462"/>
                      <a:pt x="59" y="444"/>
                    </a:cubicBezTo>
                    <a:cubicBezTo>
                      <a:pt x="59" y="443"/>
                      <a:pt x="59" y="443"/>
                      <a:pt x="59" y="443"/>
                    </a:cubicBezTo>
                    <a:cubicBezTo>
                      <a:pt x="99" y="394"/>
                      <a:pt x="150" y="357"/>
                      <a:pt x="210" y="335"/>
                    </a:cubicBezTo>
                    <a:lnTo>
                      <a:pt x="211" y="33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54545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67" name="Straight Connector 63">
            <a:extLst>
              <a:ext uri="{FF2B5EF4-FFF2-40B4-BE49-F238E27FC236}">
                <a16:creationId xmlns:a16="http://schemas.microsoft.com/office/drawing/2014/main" id="{349E9042-ED7F-47E9-AEB7-E0B7AC22155A}"/>
              </a:ext>
            </a:extLst>
          </p:cNvPr>
          <p:cNvCxnSpPr/>
          <p:nvPr/>
        </p:nvCxnSpPr>
        <p:spPr>
          <a:xfrm>
            <a:off x="6493040" y="3031497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71">
            <a:extLst>
              <a:ext uri="{FF2B5EF4-FFF2-40B4-BE49-F238E27FC236}">
                <a16:creationId xmlns:a16="http://schemas.microsoft.com/office/drawing/2014/main" id="{E7C8701E-DD5C-4604-ADEA-6E4CABFD9131}"/>
              </a:ext>
            </a:extLst>
          </p:cNvPr>
          <p:cNvGrpSpPr/>
          <p:nvPr/>
        </p:nvGrpSpPr>
        <p:grpSpPr>
          <a:xfrm>
            <a:off x="6358886" y="3448809"/>
            <a:ext cx="282075" cy="259040"/>
            <a:chOff x="4843364" y="3319364"/>
            <a:chExt cx="219273" cy="219273"/>
          </a:xfrm>
        </p:grpSpPr>
        <p:sp>
          <p:nvSpPr>
            <p:cNvPr id="70" name="Oval 50">
              <a:extLst>
                <a:ext uri="{FF2B5EF4-FFF2-40B4-BE49-F238E27FC236}">
                  <a16:creationId xmlns:a16="http://schemas.microsoft.com/office/drawing/2014/main" id="{5C95F7B9-F10B-452C-A38C-F8AF7C7C7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FE8D5E9A-6767-4698-97CD-E548F6B5C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89" name="Straight Connector 63">
            <a:extLst>
              <a:ext uri="{FF2B5EF4-FFF2-40B4-BE49-F238E27FC236}">
                <a16:creationId xmlns:a16="http://schemas.microsoft.com/office/drawing/2014/main" id="{91A249C0-736D-4BA5-B37C-43942C77F11D}"/>
              </a:ext>
            </a:extLst>
          </p:cNvPr>
          <p:cNvCxnSpPr/>
          <p:nvPr/>
        </p:nvCxnSpPr>
        <p:spPr>
          <a:xfrm>
            <a:off x="6502218" y="4310212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71">
            <a:extLst>
              <a:ext uri="{FF2B5EF4-FFF2-40B4-BE49-F238E27FC236}">
                <a16:creationId xmlns:a16="http://schemas.microsoft.com/office/drawing/2014/main" id="{4E1E00AD-50AD-4380-8566-44F2DC8358C6}"/>
              </a:ext>
            </a:extLst>
          </p:cNvPr>
          <p:cNvGrpSpPr/>
          <p:nvPr/>
        </p:nvGrpSpPr>
        <p:grpSpPr>
          <a:xfrm>
            <a:off x="6368064" y="4645636"/>
            <a:ext cx="282075" cy="259040"/>
            <a:chOff x="4843364" y="3319364"/>
            <a:chExt cx="219273" cy="219273"/>
          </a:xfrm>
        </p:grpSpPr>
        <p:sp>
          <p:nvSpPr>
            <p:cNvPr id="91" name="Oval 50">
              <a:extLst>
                <a:ext uri="{FF2B5EF4-FFF2-40B4-BE49-F238E27FC236}">
                  <a16:creationId xmlns:a16="http://schemas.microsoft.com/office/drawing/2014/main" id="{9EB9BC26-9882-4796-99C6-5E3A902E7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51">
              <a:extLst>
                <a:ext uri="{FF2B5EF4-FFF2-40B4-BE49-F238E27FC236}">
                  <a16:creationId xmlns:a16="http://schemas.microsoft.com/office/drawing/2014/main" id="{4F0E02CA-9C4E-44A8-AF86-DAE544EA1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14"/>
          <p:cNvSpPr/>
          <p:nvPr/>
        </p:nvSpPr>
        <p:spPr>
          <a:xfrm>
            <a:off x="623893" y="5579530"/>
            <a:ext cx="2424101" cy="895813"/>
          </a:xfrm>
          <a:prstGeom prst="rect">
            <a:avLst/>
          </a:prstGeom>
          <a:solidFill>
            <a:srgbClr val="006699"/>
          </a:solidFill>
        </p:spPr>
        <p:txBody>
          <a:bodyPr wrap="square" lIns="0" rIns="0" anchor="ctr" anchorCtr="0">
            <a:noAutofit/>
          </a:bodyPr>
          <a:lstStyle/>
          <a:p>
            <a:pPr marL="179388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оследствия пандемии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COVID-19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1" name="Rectangle 33"/>
          <p:cNvSpPr/>
          <p:nvPr/>
        </p:nvSpPr>
        <p:spPr>
          <a:xfrm>
            <a:off x="3606908" y="5597701"/>
            <a:ext cx="2518343" cy="34513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околение «</a:t>
            </a:r>
            <a:r>
              <a:rPr lang="ru-RU" sz="1400" dirty="0" err="1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локдауна</a:t>
            </a:r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»</a:t>
            </a:r>
          </a:p>
        </p:txBody>
      </p:sp>
      <p:sp>
        <p:nvSpPr>
          <p:cNvPr id="63" name="ee4pContent3"/>
          <p:cNvSpPr txBox="1"/>
          <p:nvPr/>
        </p:nvSpPr>
        <p:spPr>
          <a:xfrm>
            <a:off x="6633869" y="5510522"/>
            <a:ext cx="5405726" cy="83240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lvl="1" algn="just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ют завершение обучения с задержкой - 50% студентов, не смогут завершить - 10%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295E7E">
                  <a:lumMod val="100000"/>
                </a:srgbClr>
              </a:buClr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ое бездействие и социальная изоляция наиболее уязвимых безработных еще больше отдаляет их от рынка труд</a:t>
            </a:r>
            <a:r>
              <a:rPr lang="ru-RU" sz="1300" dirty="0">
                <a:solidFill>
                  <a:srgbClr val="545454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</a:p>
        </p:txBody>
      </p:sp>
      <p:cxnSp>
        <p:nvCxnSpPr>
          <p:cNvPr id="65" name="Straight Connector 63">
            <a:extLst>
              <a:ext uri="{FF2B5EF4-FFF2-40B4-BE49-F238E27FC236}">
                <a16:creationId xmlns:a16="http://schemas.microsoft.com/office/drawing/2014/main" id="{91A249C0-736D-4BA5-B37C-43942C77F11D}"/>
              </a:ext>
            </a:extLst>
          </p:cNvPr>
          <p:cNvCxnSpPr/>
          <p:nvPr/>
        </p:nvCxnSpPr>
        <p:spPr>
          <a:xfrm>
            <a:off x="6502218" y="5539343"/>
            <a:ext cx="0" cy="936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71">
            <a:extLst>
              <a:ext uri="{FF2B5EF4-FFF2-40B4-BE49-F238E27FC236}">
                <a16:creationId xmlns:a16="http://schemas.microsoft.com/office/drawing/2014/main" id="{4E1E00AD-50AD-4380-8566-44F2DC8358C6}"/>
              </a:ext>
            </a:extLst>
          </p:cNvPr>
          <p:cNvGrpSpPr/>
          <p:nvPr/>
        </p:nvGrpSpPr>
        <p:grpSpPr>
          <a:xfrm>
            <a:off x="6368064" y="5896273"/>
            <a:ext cx="282075" cy="259040"/>
            <a:chOff x="4843364" y="3319364"/>
            <a:chExt cx="219273" cy="219273"/>
          </a:xfrm>
        </p:grpSpPr>
        <p:sp>
          <p:nvSpPr>
            <p:cNvPr id="69" name="Oval 50">
              <a:extLst>
                <a:ext uri="{FF2B5EF4-FFF2-40B4-BE49-F238E27FC236}">
                  <a16:creationId xmlns:a16="http://schemas.microsoft.com/office/drawing/2014/main" id="{9EB9BC26-9882-4796-99C6-5E3A902E7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4F0E02CA-9C4E-44A8-AF86-DAE544EA1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3537128" y="6124736"/>
            <a:ext cx="20730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неравенства</a:t>
            </a:r>
            <a:endParaRPr lang="ru-RU" sz="14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76" name="bcgIcons_People">
            <a:extLst>
              <a:ext uri="{FF2B5EF4-FFF2-40B4-BE49-F238E27FC236}">
                <a16:creationId xmlns:a16="http://schemas.microsoft.com/office/drawing/2014/main" id="{EA94D986-8FB5-47DE-9ECC-480E9870C6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00383" y="5524177"/>
            <a:ext cx="471446" cy="471883"/>
            <a:chOff x="1682" y="0"/>
            <a:chExt cx="4316" cy="4320"/>
          </a:xfrm>
        </p:grpSpPr>
        <p:sp>
          <p:nvSpPr>
            <p:cNvPr id="77" name="AutoShape 28">
              <a:extLst>
                <a:ext uri="{FF2B5EF4-FFF2-40B4-BE49-F238E27FC236}">
                  <a16:creationId xmlns:a16="http://schemas.microsoft.com/office/drawing/2014/main" id="{FD07BCE6-84E4-4AC7-86C2-AF13180DF2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4BB9FC04-FDB9-44AA-AB84-1D78475B2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6" y="908"/>
              <a:ext cx="3689" cy="2621"/>
            </a:xfrm>
            <a:custGeom>
              <a:avLst/>
              <a:gdLst>
                <a:gd name="T0" fmla="*/ 776 w 1969"/>
                <a:gd name="T1" fmla="*/ 1121 h 1398"/>
                <a:gd name="T2" fmla="*/ 776 w 1969"/>
                <a:gd name="T3" fmla="*/ 1308 h 1398"/>
                <a:gd name="T4" fmla="*/ 763 w 1969"/>
                <a:gd name="T5" fmla="*/ 1329 h 1398"/>
                <a:gd name="T6" fmla="*/ 366 w 1969"/>
                <a:gd name="T7" fmla="*/ 1398 h 1398"/>
                <a:gd name="T8" fmla="*/ 365 w 1969"/>
                <a:gd name="T9" fmla="*/ 1398 h 1398"/>
                <a:gd name="T10" fmla="*/ 343 w 1969"/>
                <a:gd name="T11" fmla="*/ 1376 h 1398"/>
                <a:gd name="T12" fmla="*/ 343 w 1969"/>
                <a:gd name="T13" fmla="*/ 1199 h 1398"/>
                <a:gd name="T14" fmla="*/ 138 w 1969"/>
                <a:gd name="T15" fmla="*/ 1188 h 1398"/>
                <a:gd name="T16" fmla="*/ 107 w 1969"/>
                <a:gd name="T17" fmla="*/ 1078 h 1398"/>
                <a:gd name="T18" fmla="*/ 106 w 1969"/>
                <a:gd name="T19" fmla="*/ 1071 h 1398"/>
                <a:gd name="T20" fmla="*/ 112 w 1969"/>
                <a:gd name="T21" fmla="*/ 931 h 1398"/>
                <a:gd name="T22" fmla="*/ 10 w 1969"/>
                <a:gd name="T23" fmla="*/ 877 h 1398"/>
                <a:gd name="T24" fmla="*/ 56 w 1969"/>
                <a:gd name="T25" fmla="*/ 789 h 1398"/>
                <a:gd name="T26" fmla="*/ 65 w 1969"/>
                <a:gd name="T27" fmla="*/ 780 h 1398"/>
                <a:gd name="T28" fmla="*/ 108 w 1969"/>
                <a:gd name="T29" fmla="*/ 695 h 1398"/>
                <a:gd name="T30" fmla="*/ 113 w 1969"/>
                <a:gd name="T31" fmla="*/ 654 h 1398"/>
                <a:gd name="T32" fmla="*/ 124 w 1969"/>
                <a:gd name="T33" fmla="*/ 587 h 1398"/>
                <a:gd name="T34" fmla="*/ 134 w 1969"/>
                <a:gd name="T35" fmla="*/ 513 h 1398"/>
                <a:gd name="T36" fmla="*/ 178 w 1969"/>
                <a:gd name="T37" fmla="*/ 516 h 1398"/>
                <a:gd name="T38" fmla="*/ 166 w 1969"/>
                <a:gd name="T39" fmla="*/ 601 h 1398"/>
                <a:gd name="T40" fmla="*/ 157 w 1969"/>
                <a:gd name="T41" fmla="*/ 658 h 1398"/>
                <a:gd name="T42" fmla="*/ 150 w 1969"/>
                <a:gd name="T43" fmla="*/ 710 h 1398"/>
                <a:gd name="T44" fmla="*/ 98 w 1969"/>
                <a:gd name="T45" fmla="*/ 809 h 1398"/>
                <a:gd name="T46" fmla="*/ 89 w 1969"/>
                <a:gd name="T47" fmla="*/ 819 h 1398"/>
                <a:gd name="T48" fmla="*/ 52 w 1969"/>
                <a:gd name="T49" fmla="*/ 865 h 1398"/>
                <a:gd name="T50" fmla="*/ 135 w 1969"/>
                <a:gd name="T51" fmla="*/ 886 h 1398"/>
                <a:gd name="T52" fmla="*/ 153 w 1969"/>
                <a:gd name="T53" fmla="*/ 893 h 1398"/>
                <a:gd name="T54" fmla="*/ 159 w 1969"/>
                <a:gd name="T55" fmla="*/ 910 h 1398"/>
                <a:gd name="T56" fmla="*/ 150 w 1969"/>
                <a:gd name="T57" fmla="*/ 1068 h 1398"/>
                <a:gd name="T58" fmla="*/ 150 w 1969"/>
                <a:gd name="T59" fmla="*/ 1075 h 1398"/>
                <a:gd name="T60" fmla="*/ 160 w 1969"/>
                <a:gd name="T61" fmla="*/ 1149 h 1398"/>
                <a:gd name="T62" fmla="*/ 362 w 1969"/>
                <a:gd name="T63" fmla="*/ 1152 h 1398"/>
                <a:gd name="T64" fmla="*/ 380 w 1969"/>
                <a:gd name="T65" fmla="*/ 1157 h 1398"/>
                <a:gd name="T66" fmla="*/ 387 w 1969"/>
                <a:gd name="T67" fmla="*/ 1174 h 1398"/>
                <a:gd name="T68" fmla="*/ 387 w 1969"/>
                <a:gd name="T69" fmla="*/ 1354 h 1398"/>
                <a:gd name="T70" fmla="*/ 732 w 1969"/>
                <a:gd name="T71" fmla="*/ 1293 h 1398"/>
                <a:gd name="T72" fmla="*/ 732 w 1969"/>
                <a:gd name="T73" fmla="*/ 1160 h 1398"/>
                <a:gd name="T74" fmla="*/ 775 w 1969"/>
                <a:gd name="T75" fmla="*/ 1123 h 1398"/>
                <a:gd name="T76" fmla="*/ 776 w 1969"/>
                <a:gd name="T77" fmla="*/ 1121 h 1398"/>
                <a:gd name="T78" fmla="*/ 1935 w 1969"/>
                <a:gd name="T79" fmla="*/ 80 h 1398"/>
                <a:gd name="T80" fmla="*/ 1395 w 1969"/>
                <a:gd name="T81" fmla="*/ 0 h 1398"/>
                <a:gd name="T82" fmla="*/ 879 w 1969"/>
                <a:gd name="T83" fmla="*/ 329 h 1398"/>
                <a:gd name="T84" fmla="*/ 1106 w 1969"/>
                <a:gd name="T85" fmla="*/ 1025 h 1398"/>
                <a:gd name="T86" fmla="*/ 1114 w 1969"/>
                <a:gd name="T87" fmla="*/ 1021 h 1398"/>
                <a:gd name="T88" fmla="*/ 1114 w 1969"/>
                <a:gd name="T89" fmla="*/ 788 h 1398"/>
                <a:gd name="T90" fmla="*/ 1114 w 1969"/>
                <a:gd name="T91" fmla="*/ 786 h 1398"/>
                <a:gd name="T92" fmla="*/ 1114 w 1969"/>
                <a:gd name="T93" fmla="*/ 471 h 1398"/>
                <a:gd name="T94" fmla="*/ 1281 w 1969"/>
                <a:gd name="T95" fmla="*/ 616 h 1398"/>
                <a:gd name="T96" fmla="*/ 1286 w 1969"/>
                <a:gd name="T97" fmla="*/ 620 h 1398"/>
                <a:gd name="T98" fmla="*/ 1373 w 1969"/>
                <a:gd name="T99" fmla="*/ 612 h 1398"/>
                <a:gd name="T100" fmla="*/ 1495 w 1969"/>
                <a:gd name="T101" fmla="*/ 341 h 1398"/>
                <a:gd name="T102" fmla="*/ 1854 w 1969"/>
                <a:gd name="T103" fmla="*/ 258 h 1398"/>
                <a:gd name="T104" fmla="*/ 1857 w 1969"/>
                <a:gd name="T105" fmla="*/ 255 h 1398"/>
                <a:gd name="T106" fmla="*/ 1935 w 1969"/>
                <a:gd name="T107" fmla="*/ 80 h 1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9" h="1398">
                  <a:moveTo>
                    <a:pt x="776" y="1121"/>
                  </a:moveTo>
                  <a:cubicBezTo>
                    <a:pt x="776" y="1308"/>
                    <a:pt x="776" y="1308"/>
                    <a:pt x="776" y="1308"/>
                  </a:cubicBezTo>
                  <a:cubicBezTo>
                    <a:pt x="776" y="1317"/>
                    <a:pt x="771" y="1325"/>
                    <a:pt x="763" y="1329"/>
                  </a:cubicBezTo>
                  <a:cubicBezTo>
                    <a:pt x="597" y="1397"/>
                    <a:pt x="383" y="1398"/>
                    <a:pt x="366" y="1398"/>
                  </a:cubicBezTo>
                  <a:cubicBezTo>
                    <a:pt x="366" y="1398"/>
                    <a:pt x="366" y="1398"/>
                    <a:pt x="365" y="1398"/>
                  </a:cubicBezTo>
                  <a:cubicBezTo>
                    <a:pt x="353" y="1398"/>
                    <a:pt x="343" y="1388"/>
                    <a:pt x="343" y="1376"/>
                  </a:cubicBezTo>
                  <a:cubicBezTo>
                    <a:pt x="343" y="1199"/>
                    <a:pt x="343" y="1199"/>
                    <a:pt x="343" y="1199"/>
                  </a:cubicBezTo>
                  <a:cubicBezTo>
                    <a:pt x="239" y="1210"/>
                    <a:pt x="161" y="1199"/>
                    <a:pt x="138" y="1188"/>
                  </a:cubicBezTo>
                  <a:cubicBezTo>
                    <a:pt x="113" y="1174"/>
                    <a:pt x="111" y="1140"/>
                    <a:pt x="107" y="1078"/>
                  </a:cubicBezTo>
                  <a:cubicBezTo>
                    <a:pt x="106" y="1071"/>
                    <a:pt x="106" y="1071"/>
                    <a:pt x="106" y="1071"/>
                  </a:cubicBezTo>
                  <a:cubicBezTo>
                    <a:pt x="103" y="1030"/>
                    <a:pt x="109" y="966"/>
                    <a:pt x="112" y="931"/>
                  </a:cubicBezTo>
                  <a:cubicBezTo>
                    <a:pt x="35" y="930"/>
                    <a:pt x="15" y="890"/>
                    <a:pt x="10" y="877"/>
                  </a:cubicBezTo>
                  <a:cubicBezTo>
                    <a:pt x="0" y="850"/>
                    <a:pt x="28" y="820"/>
                    <a:pt x="56" y="789"/>
                  </a:cubicBezTo>
                  <a:cubicBezTo>
                    <a:pt x="60" y="786"/>
                    <a:pt x="63" y="783"/>
                    <a:pt x="65" y="780"/>
                  </a:cubicBezTo>
                  <a:cubicBezTo>
                    <a:pt x="79" y="765"/>
                    <a:pt x="94" y="735"/>
                    <a:pt x="108" y="695"/>
                  </a:cubicBezTo>
                  <a:cubicBezTo>
                    <a:pt x="111" y="687"/>
                    <a:pt x="112" y="670"/>
                    <a:pt x="113" y="654"/>
                  </a:cubicBezTo>
                  <a:cubicBezTo>
                    <a:pt x="115" y="632"/>
                    <a:pt x="117" y="607"/>
                    <a:pt x="124" y="587"/>
                  </a:cubicBezTo>
                  <a:cubicBezTo>
                    <a:pt x="130" y="568"/>
                    <a:pt x="133" y="535"/>
                    <a:pt x="134" y="513"/>
                  </a:cubicBezTo>
                  <a:cubicBezTo>
                    <a:pt x="145" y="515"/>
                    <a:pt x="158" y="515"/>
                    <a:pt x="178" y="516"/>
                  </a:cubicBezTo>
                  <a:cubicBezTo>
                    <a:pt x="177" y="539"/>
                    <a:pt x="174" y="576"/>
                    <a:pt x="166" y="601"/>
                  </a:cubicBezTo>
                  <a:cubicBezTo>
                    <a:pt x="161" y="616"/>
                    <a:pt x="159" y="638"/>
                    <a:pt x="157" y="658"/>
                  </a:cubicBezTo>
                  <a:cubicBezTo>
                    <a:pt x="156" y="679"/>
                    <a:pt x="154" y="696"/>
                    <a:pt x="150" y="710"/>
                  </a:cubicBezTo>
                  <a:cubicBezTo>
                    <a:pt x="138" y="741"/>
                    <a:pt x="120" y="785"/>
                    <a:pt x="98" y="809"/>
                  </a:cubicBezTo>
                  <a:cubicBezTo>
                    <a:pt x="95" y="812"/>
                    <a:pt x="92" y="816"/>
                    <a:pt x="89" y="819"/>
                  </a:cubicBezTo>
                  <a:cubicBezTo>
                    <a:pt x="78" y="831"/>
                    <a:pt x="56" y="854"/>
                    <a:pt x="52" y="865"/>
                  </a:cubicBezTo>
                  <a:cubicBezTo>
                    <a:pt x="58" y="876"/>
                    <a:pt x="81" y="891"/>
                    <a:pt x="135" y="886"/>
                  </a:cubicBezTo>
                  <a:cubicBezTo>
                    <a:pt x="142" y="885"/>
                    <a:pt x="148" y="888"/>
                    <a:pt x="153" y="893"/>
                  </a:cubicBezTo>
                  <a:cubicBezTo>
                    <a:pt x="157" y="897"/>
                    <a:pt x="160" y="904"/>
                    <a:pt x="159" y="910"/>
                  </a:cubicBezTo>
                  <a:cubicBezTo>
                    <a:pt x="159" y="912"/>
                    <a:pt x="146" y="1014"/>
                    <a:pt x="150" y="1068"/>
                  </a:cubicBezTo>
                  <a:cubicBezTo>
                    <a:pt x="150" y="1075"/>
                    <a:pt x="150" y="1075"/>
                    <a:pt x="150" y="1075"/>
                  </a:cubicBezTo>
                  <a:cubicBezTo>
                    <a:pt x="152" y="1106"/>
                    <a:pt x="155" y="1141"/>
                    <a:pt x="160" y="1149"/>
                  </a:cubicBezTo>
                  <a:cubicBezTo>
                    <a:pt x="174" y="1155"/>
                    <a:pt x="248" y="1168"/>
                    <a:pt x="362" y="1152"/>
                  </a:cubicBezTo>
                  <a:cubicBezTo>
                    <a:pt x="369" y="1151"/>
                    <a:pt x="375" y="1153"/>
                    <a:pt x="380" y="1157"/>
                  </a:cubicBezTo>
                  <a:cubicBezTo>
                    <a:pt x="385" y="1162"/>
                    <a:pt x="387" y="1168"/>
                    <a:pt x="387" y="1174"/>
                  </a:cubicBezTo>
                  <a:cubicBezTo>
                    <a:pt x="387" y="1354"/>
                    <a:pt x="387" y="1354"/>
                    <a:pt x="387" y="1354"/>
                  </a:cubicBezTo>
                  <a:cubicBezTo>
                    <a:pt x="445" y="1352"/>
                    <a:pt x="604" y="1342"/>
                    <a:pt x="732" y="1293"/>
                  </a:cubicBezTo>
                  <a:cubicBezTo>
                    <a:pt x="732" y="1160"/>
                    <a:pt x="732" y="1160"/>
                    <a:pt x="732" y="1160"/>
                  </a:cubicBezTo>
                  <a:cubicBezTo>
                    <a:pt x="747" y="1151"/>
                    <a:pt x="768" y="1129"/>
                    <a:pt x="775" y="1123"/>
                  </a:cubicBezTo>
                  <a:cubicBezTo>
                    <a:pt x="775" y="1122"/>
                    <a:pt x="776" y="1122"/>
                    <a:pt x="776" y="1121"/>
                  </a:cubicBezTo>
                  <a:close/>
                  <a:moveTo>
                    <a:pt x="1935" y="80"/>
                  </a:moveTo>
                  <a:cubicBezTo>
                    <a:pt x="1623" y="86"/>
                    <a:pt x="1732" y="0"/>
                    <a:pt x="1395" y="0"/>
                  </a:cubicBezTo>
                  <a:cubicBezTo>
                    <a:pt x="1099" y="0"/>
                    <a:pt x="952" y="177"/>
                    <a:pt x="879" y="329"/>
                  </a:cubicBezTo>
                  <a:cubicBezTo>
                    <a:pt x="728" y="652"/>
                    <a:pt x="1049" y="972"/>
                    <a:pt x="1106" y="1025"/>
                  </a:cubicBezTo>
                  <a:cubicBezTo>
                    <a:pt x="1109" y="1028"/>
                    <a:pt x="1114" y="1025"/>
                    <a:pt x="1114" y="1021"/>
                  </a:cubicBezTo>
                  <a:cubicBezTo>
                    <a:pt x="1114" y="1021"/>
                    <a:pt x="1114" y="1021"/>
                    <a:pt x="1114" y="788"/>
                  </a:cubicBezTo>
                  <a:cubicBezTo>
                    <a:pt x="1114" y="788"/>
                    <a:pt x="1114" y="787"/>
                    <a:pt x="1114" y="786"/>
                  </a:cubicBezTo>
                  <a:cubicBezTo>
                    <a:pt x="1106" y="769"/>
                    <a:pt x="991" y="534"/>
                    <a:pt x="1114" y="471"/>
                  </a:cubicBezTo>
                  <a:cubicBezTo>
                    <a:pt x="1245" y="402"/>
                    <a:pt x="1278" y="587"/>
                    <a:pt x="1281" y="616"/>
                  </a:cubicBezTo>
                  <a:cubicBezTo>
                    <a:pt x="1282" y="618"/>
                    <a:pt x="1284" y="620"/>
                    <a:pt x="1286" y="620"/>
                  </a:cubicBezTo>
                  <a:cubicBezTo>
                    <a:pt x="1303" y="623"/>
                    <a:pt x="1373" y="632"/>
                    <a:pt x="1373" y="612"/>
                  </a:cubicBezTo>
                  <a:cubicBezTo>
                    <a:pt x="1373" y="472"/>
                    <a:pt x="1425" y="391"/>
                    <a:pt x="1495" y="341"/>
                  </a:cubicBezTo>
                  <a:cubicBezTo>
                    <a:pt x="1625" y="246"/>
                    <a:pt x="1819" y="270"/>
                    <a:pt x="1854" y="258"/>
                  </a:cubicBezTo>
                  <a:cubicBezTo>
                    <a:pt x="1855" y="258"/>
                    <a:pt x="1857" y="256"/>
                    <a:pt x="1857" y="255"/>
                  </a:cubicBezTo>
                  <a:cubicBezTo>
                    <a:pt x="1874" y="185"/>
                    <a:pt x="1969" y="80"/>
                    <a:pt x="1935" y="80"/>
                  </a:cubicBezTo>
                  <a:close/>
                </a:path>
              </a:pathLst>
            </a:custGeom>
            <a:solidFill>
              <a:srgbClr val="44546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C96AEE86-5230-40B4-8F8D-A2C36FA2A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9" y="1393"/>
              <a:ext cx="3694" cy="2136"/>
            </a:xfrm>
            <a:custGeom>
              <a:avLst/>
              <a:gdLst>
                <a:gd name="T0" fmla="*/ 1962 w 1972"/>
                <a:gd name="T1" fmla="*/ 501 h 1139"/>
                <a:gd name="T2" fmla="*/ 1835 w 1972"/>
                <a:gd name="T3" fmla="*/ 564 h 1139"/>
                <a:gd name="T4" fmla="*/ 1843 w 1972"/>
                <a:gd name="T5" fmla="*/ 741 h 1139"/>
                <a:gd name="T6" fmla="*/ 1843 w 1972"/>
                <a:gd name="T7" fmla="*/ 750 h 1139"/>
                <a:gd name="T8" fmla="*/ 1806 w 1972"/>
                <a:gd name="T9" fmla="*/ 880 h 1139"/>
                <a:gd name="T10" fmla="*/ 1551 w 1972"/>
                <a:gd name="T11" fmla="*/ 893 h 1139"/>
                <a:gd name="T12" fmla="*/ 1551 w 1972"/>
                <a:gd name="T13" fmla="*/ 1117 h 1139"/>
                <a:gd name="T14" fmla="*/ 1529 w 1972"/>
                <a:gd name="T15" fmla="*/ 1139 h 1139"/>
                <a:gd name="T16" fmla="*/ 1528 w 1972"/>
                <a:gd name="T17" fmla="*/ 1139 h 1139"/>
                <a:gd name="T18" fmla="*/ 1042 w 1972"/>
                <a:gd name="T19" fmla="*/ 1054 h 1139"/>
                <a:gd name="T20" fmla="*/ 1028 w 1972"/>
                <a:gd name="T21" fmla="*/ 1033 h 1139"/>
                <a:gd name="T22" fmla="*/ 1028 w 1972"/>
                <a:gd name="T23" fmla="*/ 794 h 1139"/>
                <a:gd name="T24" fmla="*/ 1032 w 1972"/>
                <a:gd name="T25" fmla="*/ 798 h 1139"/>
                <a:gd name="T26" fmla="*/ 1072 w 1972"/>
                <a:gd name="T27" fmla="*/ 829 h 1139"/>
                <a:gd name="T28" fmla="*/ 1072 w 1972"/>
                <a:gd name="T29" fmla="*/ 1019 h 1139"/>
                <a:gd name="T30" fmla="*/ 1507 w 1972"/>
                <a:gd name="T31" fmla="*/ 1095 h 1139"/>
                <a:gd name="T32" fmla="*/ 1507 w 1972"/>
                <a:gd name="T33" fmla="*/ 868 h 1139"/>
                <a:gd name="T34" fmla="*/ 1515 w 1972"/>
                <a:gd name="T35" fmla="*/ 852 h 1139"/>
                <a:gd name="T36" fmla="*/ 1532 w 1972"/>
                <a:gd name="T37" fmla="*/ 846 h 1139"/>
                <a:gd name="T38" fmla="*/ 1785 w 1972"/>
                <a:gd name="T39" fmla="*/ 842 h 1139"/>
                <a:gd name="T40" fmla="*/ 1799 w 1972"/>
                <a:gd name="T41" fmla="*/ 747 h 1139"/>
                <a:gd name="T42" fmla="*/ 1799 w 1972"/>
                <a:gd name="T43" fmla="*/ 738 h 1139"/>
                <a:gd name="T44" fmla="*/ 1789 w 1972"/>
                <a:gd name="T45" fmla="*/ 543 h 1139"/>
                <a:gd name="T46" fmla="*/ 1795 w 1972"/>
                <a:gd name="T47" fmla="*/ 525 h 1139"/>
                <a:gd name="T48" fmla="*/ 1812 w 1972"/>
                <a:gd name="T49" fmla="*/ 519 h 1139"/>
                <a:gd name="T50" fmla="*/ 1920 w 1972"/>
                <a:gd name="T51" fmla="*/ 487 h 1139"/>
                <a:gd name="T52" fmla="*/ 1874 w 1972"/>
                <a:gd name="T53" fmla="*/ 428 h 1139"/>
                <a:gd name="T54" fmla="*/ 1862 w 1972"/>
                <a:gd name="T55" fmla="*/ 415 h 1139"/>
                <a:gd name="T56" fmla="*/ 1800 w 1972"/>
                <a:gd name="T57" fmla="*/ 295 h 1139"/>
                <a:gd name="T58" fmla="*/ 1790 w 1972"/>
                <a:gd name="T59" fmla="*/ 232 h 1139"/>
                <a:gd name="T60" fmla="*/ 1780 w 1972"/>
                <a:gd name="T61" fmla="*/ 161 h 1139"/>
                <a:gd name="T62" fmla="*/ 1765 w 1972"/>
                <a:gd name="T63" fmla="*/ 48 h 1139"/>
                <a:gd name="T64" fmla="*/ 1809 w 1972"/>
                <a:gd name="T65" fmla="*/ 45 h 1139"/>
                <a:gd name="T66" fmla="*/ 1821 w 1972"/>
                <a:gd name="T67" fmla="*/ 147 h 1139"/>
                <a:gd name="T68" fmla="*/ 1834 w 1972"/>
                <a:gd name="T69" fmla="*/ 229 h 1139"/>
                <a:gd name="T70" fmla="*/ 1841 w 1972"/>
                <a:gd name="T71" fmla="*/ 280 h 1139"/>
                <a:gd name="T72" fmla="*/ 1895 w 1972"/>
                <a:gd name="T73" fmla="*/ 386 h 1139"/>
                <a:gd name="T74" fmla="*/ 1906 w 1972"/>
                <a:gd name="T75" fmla="*/ 398 h 1139"/>
                <a:gd name="T76" fmla="*/ 1962 w 1972"/>
                <a:gd name="T77" fmla="*/ 501 h 1139"/>
                <a:gd name="T78" fmla="*/ 832 w 1972"/>
                <a:gd name="T79" fmla="*/ 540 h 1139"/>
                <a:gd name="T80" fmla="*/ 772 w 1972"/>
                <a:gd name="T81" fmla="*/ 112 h 1139"/>
                <a:gd name="T82" fmla="*/ 466 w 1972"/>
                <a:gd name="T83" fmla="*/ 0 h 1139"/>
                <a:gd name="T84" fmla="*/ 27 w 1972"/>
                <a:gd name="T85" fmla="*/ 65 h 1139"/>
                <a:gd name="T86" fmla="*/ 91 w 1972"/>
                <a:gd name="T87" fmla="*/ 206 h 1139"/>
                <a:gd name="T88" fmla="*/ 93 w 1972"/>
                <a:gd name="T89" fmla="*/ 209 h 1139"/>
                <a:gd name="T90" fmla="*/ 385 w 1972"/>
                <a:gd name="T91" fmla="*/ 276 h 1139"/>
                <a:gd name="T92" fmla="*/ 484 w 1972"/>
                <a:gd name="T93" fmla="*/ 497 h 1139"/>
                <a:gd name="T94" fmla="*/ 555 w 1972"/>
                <a:gd name="T95" fmla="*/ 503 h 1139"/>
                <a:gd name="T96" fmla="*/ 558 w 1972"/>
                <a:gd name="T97" fmla="*/ 500 h 1139"/>
                <a:gd name="T98" fmla="*/ 694 w 1972"/>
                <a:gd name="T99" fmla="*/ 382 h 1139"/>
                <a:gd name="T100" fmla="*/ 694 w 1972"/>
                <a:gd name="T101" fmla="*/ 638 h 1139"/>
                <a:gd name="T102" fmla="*/ 694 w 1972"/>
                <a:gd name="T103" fmla="*/ 640 h 1139"/>
                <a:gd name="T104" fmla="*/ 694 w 1972"/>
                <a:gd name="T105" fmla="*/ 829 h 1139"/>
                <a:gd name="T106" fmla="*/ 701 w 1972"/>
                <a:gd name="T107" fmla="*/ 832 h 1139"/>
                <a:gd name="T108" fmla="*/ 870 w 1972"/>
                <a:gd name="T109" fmla="*/ 604 h 1139"/>
                <a:gd name="T110" fmla="*/ 832 w 1972"/>
                <a:gd name="T111" fmla="*/ 540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72" h="1139">
                  <a:moveTo>
                    <a:pt x="1962" y="501"/>
                  </a:moveTo>
                  <a:cubicBezTo>
                    <a:pt x="1956" y="516"/>
                    <a:pt x="1932" y="564"/>
                    <a:pt x="1835" y="564"/>
                  </a:cubicBezTo>
                  <a:cubicBezTo>
                    <a:pt x="1839" y="606"/>
                    <a:pt x="1847" y="688"/>
                    <a:pt x="1843" y="741"/>
                  </a:cubicBezTo>
                  <a:cubicBezTo>
                    <a:pt x="1843" y="750"/>
                    <a:pt x="1843" y="750"/>
                    <a:pt x="1843" y="750"/>
                  </a:cubicBezTo>
                  <a:cubicBezTo>
                    <a:pt x="1838" y="824"/>
                    <a:pt x="1835" y="865"/>
                    <a:pt x="1806" y="880"/>
                  </a:cubicBezTo>
                  <a:cubicBezTo>
                    <a:pt x="1785" y="892"/>
                    <a:pt x="1693" y="909"/>
                    <a:pt x="1551" y="893"/>
                  </a:cubicBezTo>
                  <a:cubicBezTo>
                    <a:pt x="1551" y="1117"/>
                    <a:pt x="1551" y="1117"/>
                    <a:pt x="1551" y="1117"/>
                  </a:cubicBezTo>
                  <a:cubicBezTo>
                    <a:pt x="1551" y="1129"/>
                    <a:pt x="1541" y="1139"/>
                    <a:pt x="1529" y="1139"/>
                  </a:cubicBezTo>
                  <a:cubicBezTo>
                    <a:pt x="1529" y="1139"/>
                    <a:pt x="1529" y="1139"/>
                    <a:pt x="1528" y="1139"/>
                  </a:cubicBezTo>
                  <a:cubicBezTo>
                    <a:pt x="1507" y="1139"/>
                    <a:pt x="1245" y="1137"/>
                    <a:pt x="1042" y="1054"/>
                  </a:cubicBezTo>
                  <a:cubicBezTo>
                    <a:pt x="1033" y="1050"/>
                    <a:pt x="1028" y="1042"/>
                    <a:pt x="1028" y="1033"/>
                  </a:cubicBezTo>
                  <a:cubicBezTo>
                    <a:pt x="1028" y="794"/>
                    <a:pt x="1028" y="794"/>
                    <a:pt x="1028" y="794"/>
                  </a:cubicBezTo>
                  <a:cubicBezTo>
                    <a:pt x="1029" y="795"/>
                    <a:pt x="1031" y="797"/>
                    <a:pt x="1032" y="798"/>
                  </a:cubicBezTo>
                  <a:cubicBezTo>
                    <a:pt x="1039" y="804"/>
                    <a:pt x="1058" y="821"/>
                    <a:pt x="1072" y="829"/>
                  </a:cubicBezTo>
                  <a:cubicBezTo>
                    <a:pt x="1072" y="1019"/>
                    <a:pt x="1072" y="1019"/>
                    <a:pt x="1072" y="1019"/>
                  </a:cubicBezTo>
                  <a:cubicBezTo>
                    <a:pt x="1236" y="1082"/>
                    <a:pt x="1441" y="1093"/>
                    <a:pt x="1507" y="1095"/>
                  </a:cubicBezTo>
                  <a:cubicBezTo>
                    <a:pt x="1507" y="868"/>
                    <a:pt x="1507" y="868"/>
                    <a:pt x="1507" y="868"/>
                  </a:cubicBezTo>
                  <a:cubicBezTo>
                    <a:pt x="1507" y="862"/>
                    <a:pt x="1510" y="856"/>
                    <a:pt x="1515" y="852"/>
                  </a:cubicBezTo>
                  <a:cubicBezTo>
                    <a:pt x="1519" y="848"/>
                    <a:pt x="1526" y="846"/>
                    <a:pt x="1532" y="846"/>
                  </a:cubicBezTo>
                  <a:cubicBezTo>
                    <a:pt x="1679" y="866"/>
                    <a:pt x="1771" y="849"/>
                    <a:pt x="1785" y="842"/>
                  </a:cubicBezTo>
                  <a:cubicBezTo>
                    <a:pt x="1793" y="834"/>
                    <a:pt x="1796" y="788"/>
                    <a:pt x="1799" y="747"/>
                  </a:cubicBezTo>
                  <a:cubicBezTo>
                    <a:pt x="1799" y="738"/>
                    <a:pt x="1799" y="738"/>
                    <a:pt x="1799" y="738"/>
                  </a:cubicBezTo>
                  <a:cubicBezTo>
                    <a:pt x="1804" y="671"/>
                    <a:pt x="1789" y="544"/>
                    <a:pt x="1789" y="543"/>
                  </a:cubicBezTo>
                  <a:cubicBezTo>
                    <a:pt x="1788" y="537"/>
                    <a:pt x="1790" y="530"/>
                    <a:pt x="1795" y="525"/>
                  </a:cubicBezTo>
                  <a:cubicBezTo>
                    <a:pt x="1799" y="520"/>
                    <a:pt x="1806" y="518"/>
                    <a:pt x="1812" y="519"/>
                  </a:cubicBezTo>
                  <a:cubicBezTo>
                    <a:pt x="1880" y="525"/>
                    <a:pt x="1912" y="506"/>
                    <a:pt x="1920" y="487"/>
                  </a:cubicBezTo>
                  <a:cubicBezTo>
                    <a:pt x="1918" y="475"/>
                    <a:pt x="1888" y="443"/>
                    <a:pt x="1874" y="428"/>
                  </a:cubicBezTo>
                  <a:cubicBezTo>
                    <a:pt x="1870" y="423"/>
                    <a:pt x="1866" y="419"/>
                    <a:pt x="1862" y="415"/>
                  </a:cubicBezTo>
                  <a:cubicBezTo>
                    <a:pt x="1836" y="386"/>
                    <a:pt x="1814" y="333"/>
                    <a:pt x="1800" y="295"/>
                  </a:cubicBezTo>
                  <a:cubicBezTo>
                    <a:pt x="1794" y="279"/>
                    <a:pt x="1792" y="257"/>
                    <a:pt x="1790" y="232"/>
                  </a:cubicBezTo>
                  <a:cubicBezTo>
                    <a:pt x="1788" y="208"/>
                    <a:pt x="1786" y="180"/>
                    <a:pt x="1780" y="161"/>
                  </a:cubicBezTo>
                  <a:cubicBezTo>
                    <a:pt x="1768" y="127"/>
                    <a:pt x="1766" y="73"/>
                    <a:pt x="1765" y="48"/>
                  </a:cubicBezTo>
                  <a:cubicBezTo>
                    <a:pt x="1784" y="47"/>
                    <a:pt x="1798" y="46"/>
                    <a:pt x="1809" y="45"/>
                  </a:cubicBezTo>
                  <a:cubicBezTo>
                    <a:pt x="1810" y="71"/>
                    <a:pt x="1813" y="120"/>
                    <a:pt x="1821" y="147"/>
                  </a:cubicBezTo>
                  <a:cubicBezTo>
                    <a:pt x="1830" y="171"/>
                    <a:pt x="1832" y="202"/>
                    <a:pt x="1834" y="229"/>
                  </a:cubicBezTo>
                  <a:cubicBezTo>
                    <a:pt x="1836" y="249"/>
                    <a:pt x="1838" y="269"/>
                    <a:pt x="1841" y="280"/>
                  </a:cubicBezTo>
                  <a:cubicBezTo>
                    <a:pt x="1859" y="329"/>
                    <a:pt x="1878" y="367"/>
                    <a:pt x="1895" y="386"/>
                  </a:cubicBezTo>
                  <a:cubicBezTo>
                    <a:pt x="1898" y="390"/>
                    <a:pt x="1902" y="394"/>
                    <a:pt x="1906" y="398"/>
                  </a:cubicBezTo>
                  <a:cubicBezTo>
                    <a:pt x="1946" y="441"/>
                    <a:pt x="1972" y="472"/>
                    <a:pt x="1962" y="501"/>
                  </a:cubicBezTo>
                  <a:close/>
                  <a:moveTo>
                    <a:pt x="832" y="540"/>
                  </a:moveTo>
                  <a:cubicBezTo>
                    <a:pt x="751" y="391"/>
                    <a:pt x="731" y="244"/>
                    <a:pt x="772" y="112"/>
                  </a:cubicBezTo>
                  <a:cubicBezTo>
                    <a:pt x="703" y="47"/>
                    <a:pt x="604" y="0"/>
                    <a:pt x="466" y="0"/>
                  </a:cubicBezTo>
                  <a:cubicBezTo>
                    <a:pt x="192" y="0"/>
                    <a:pt x="281" y="70"/>
                    <a:pt x="27" y="65"/>
                  </a:cubicBezTo>
                  <a:cubicBezTo>
                    <a:pt x="0" y="65"/>
                    <a:pt x="77" y="150"/>
                    <a:pt x="91" y="206"/>
                  </a:cubicBezTo>
                  <a:cubicBezTo>
                    <a:pt x="91" y="208"/>
                    <a:pt x="92" y="209"/>
                    <a:pt x="93" y="209"/>
                  </a:cubicBezTo>
                  <a:cubicBezTo>
                    <a:pt x="122" y="219"/>
                    <a:pt x="279" y="200"/>
                    <a:pt x="385" y="276"/>
                  </a:cubicBezTo>
                  <a:cubicBezTo>
                    <a:pt x="442" y="317"/>
                    <a:pt x="484" y="383"/>
                    <a:pt x="484" y="497"/>
                  </a:cubicBezTo>
                  <a:cubicBezTo>
                    <a:pt x="484" y="513"/>
                    <a:pt x="541" y="505"/>
                    <a:pt x="555" y="503"/>
                  </a:cubicBezTo>
                  <a:cubicBezTo>
                    <a:pt x="556" y="503"/>
                    <a:pt x="558" y="502"/>
                    <a:pt x="558" y="500"/>
                  </a:cubicBezTo>
                  <a:cubicBezTo>
                    <a:pt x="561" y="477"/>
                    <a:pt x="588" y="326"/>
                    <a:pt x="694" y="382"/>
                  </a:cubicBezTo>
                  <a:cubicBezTo>
                    <a:pt x="794" y="433"/>
                    <a:pt x="701" y="624"/>
                    <a:pt x="694" y="638"/>
                  </a:cubicBezTo>
                  <a:cubicBezTo>
                    <a:pt x="694" y="639"/>
                    <a:pt x="694" y="639"/>
                    <a:pt x="694" y="640"/>
                  </a:cubicBezTo>
                  <a:cubicBezTo>
                    <a:pt x="694" y="829"/>
                    <a:pt x="694" y="829"/>
                    <a:pt x="694" y="829"/>
                  </a:cubicBezTo>
                  <a:cubicBezTo>
                    <a:pt x="694" y="832"/>
                    <a:pt x="698" y="834"/>
                    <a:pt x="701" y="832"/>
                  </a:cubicBezTo>
                  <a:cubicBezTo>
                    <a:pt x="726" y="808"/>
                    <a:pt x="814" y="721"/>
                    <a:pt x="870" y="604"/>
                  </a:cubicBezTo>
                  <a:cubicBezTo>
                    <a:pt x="857" y="584"/>
                    <a:pt x="844" y="563"/>
                    <a:pt x="832" y="540"/>
                  </a:cubicBezTo>
                  <a:close/>
                </a:path>
              </a:pathLst>
            </a:custGeom>
            <a:solidFill>
              <a:srgbClr val="44546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5" name="Рисунок 74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177982" y="6048034"/>
            <a:ext cx="408313" cy="408313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63E2346E-3C59-465A-9F2B-311C887EB340}"/>
              </a:ext>
            </a:extLst>
          </p:cNvPr>
          <p:cNvSpPr txBox="1"/>
          <p:nvPr/>
        </p:nvSpPr>
        <p:spPr>
          <a:xfrm>
            <a:off x="11268064" y="193906"/>
            <a:ext cx="531883" cy="288000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4" name="Заголовок 1">
            <a:extLst>
              <a:ext uri="{FF2B5EF4-FFF2-40B4-BE49-F238E27FC236}">
                <a16:creationId xmlns:a16="http://schemas.microsoft.com/office/drawing/2014/main" id="{76E75FE3-A2E8-4FE0-A927-C66A1EE47562}"/>
              </a:ext>
            </a:extLst>
          </p:cNvPr>
          <p:cNvSpPr txBox="1">
            <a:spLocks/>
          </p:cNvSpPr>
          <p:nvPr/>
        </p:nvSpPr>
        <p:spPr>
          <a:xfrm>
            <a:off x="530353" y="256221"/>
            <a:ext cx="11192167" cy="532073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>
              <a:defRPr/>
            </a:pPr>
            <a:r>
              <a:rPr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ынках труда — </a:t>
            </a:r>
            <a:r>
              <a:rPr lang="ru-RU" sz="1800" b="1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кальные перемены</a:t>
            </a:r>
            <a:r>
              <a:rPr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три глобальных вызовов усилят дисбаланс спроса и предложения</a:t>
            </a:r>
          </a:p>
        </p:txBody>
      </p:sp>
      <p:sp>
        <p:nvSpPr>
          <p:cNvPr id="80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6" y="6525199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5815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7026256"/>
              </p:ext>
            </p:ext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Слайд think-cell" r:id="rId38" imgW="498" imgH="499" progId="TCLayout.ActiveDocument.1">
                  <p:embed/>
                </p:oleObj>
              </mc:Choice>
              <mc:Fallback>
                <p:oleObj name="Слайд think-cell" r:id="rId38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gray">
          <a:xfrm>
            <a:off x="1143000" y="0"/>
            <a:ext cx="158750" cy="158750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 rot="10800000">
            <a:off x="2519363" y="3505200"/>
            <a:ext cx="1476375" cy="546100"/>
          </a:xfrm>
          <a:prstGeom prst="rtTriangle">
            <a:avLst/>
          </a:prstGeom>
          <a:solidFill>
            <a:srgbClr val="D2E0E6"/>
          </a:solidFill>
          <a:ln w="2222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ee4pHeader1"/>
          <p:cNvSpPr txBox="1"/>
          <p:nvPr/>
        </p:nvSpPr>
        <p:spPr>
          <a:xfrm>
            <a:off x="950913" y="1116013"/>
            <a:ext cx="3951288" cy="64611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14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е навыки в отдельных областях устаревают каждые 5 лет…</a:t>
            </a:r>
          </a:p>
        </p:txBody>
      </p:sp>
      <p:sp>
        <p:nvSpPr>
          <p:cNvPr id="16" name="ee4pHeader2"/>
          <p:cNvSpPr txBox="1"/>
          <p:nvPr/>
        </p:nvSpPr>
        <p:spPr>
          <a:xfrm>
            <a:off x="6608762" y="1114425"/>
            <a:ext cx="4841709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14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что требует до 20 часов в неделю дополнительного обучения для поддержания компетенций</a:t>
            </a:r>
          </a:p>
        </p:txBody>
      </p:sp>
      <p:graphicFrame>
        <p:nvGraphicFramePr>
          <p:cNvPr id="75" name="Chart 3">
            <a:extLst>
              <a:ext uri="{FF2B5EF4-FFF2-40B4-BE49-F238E27FC236}">
                <a16:creationId xmlns:a16="http://schemas.microsoft.com/office/drawing/2014/main" id="{37B41F57-BE8E-4173-BFCE-3852B21471A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58656020"/>
              </p:ext>
            </p:extLst>
          </p:nvPr>
        </p:nvGraphicFramePr>
        <p:xfrm>
          <a:off x="1081088" y="2332038"/>
          <a:ext cx="3008312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59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11238" y="2546350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A74D246-656C-4CD1-B733-0D9E8F8F7DBB}" type="datetime'''''9''''''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11238" y="4535488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05DC0F6-646D-4B75-A1B1-2334AF928A07}" type="datetime'''''''''''''''''''0''''''''''''''''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Text Placeholder 6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324100" y="4654550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AC48C7-2FBD-4719-B19A-1EF3B70D0E49}" type="datetime'''''''1''''''''''9''''''''''''''''9''''''''0'''''''''">
              <a:rPr lang="en-US" altLang="en-US" sz="10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en-US" altLang="en-US" sz="1000" b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9EEE209E-7FD1-4163-AAB1-49B2A04BB6A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873500" y="4643438"/>
            <a:ext cx="2667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D95329-95F2-4730-8EC6-CC30DA602B0F}" type="datetime'2''''''''''''02''''''''''''''''''0'''''''''''''''''''">
              <a:rPr lang="ru-RU" altLang="en-US" sz="1000" smtClean="0">
                <a:solidFill>
                  <a:srgbClr val="54545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11238" y="4305300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90D9D33-E17F-4548-A615-4384C9A177DE}" type="datetime'''1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44563" y="2338388"/>
            <a:ext cx="133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43C5931-3A53-4E15-92C4-D2C771A6DA9C}" type="datetime'''''''''''''''''''''''''''1''0''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11238" y="4095750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3720E4A-875C-41C2-BE01-D9E6BDD04ABF}" type="datetime'''''''''''''''''''''''''''''''''''''''''2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11238" y="3865563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CF10163-B4AD-4AE8-BEED-8CAF0D0BC99E}" type="datetime'''''''''''''''3''''''''''''''''''''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11238" y="2986088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32988F2-F2DE-417E-B7FE-1AD568BDD6F0}" type="datetime'''''''''''''''''''''''''7''''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11238" y="3425825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6808A9F-FD93-4BD0-90C1-3C3C8398A586}" type="datetime'''''''''''''''''''''5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11238" y="3656013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87F526C-DE4F-4350-B23B-04D5716A0EE2}" type="datetime'''''''''4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11238" y="3217863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A713D31-8E6C-41E0-9E5F-B441F1580E0C}" type="datetime'''''''''''''''''''''''''''''6''''''''''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11238" y="2778125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AF13331-07A3-4C0B-B247-281D62D57516}" type="datetime'''''''8''''''''''''''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Text Placeholder 37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44563" y="1871663"/>
            <a:ext cx="3759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Полупериод жизни инженерно-технических навыков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(лет)</a:t>
            </a: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1136650" y="4068763"/>
            <a:ext cx="2806700" cy="0"/>
          </a:xfrm>
          <a:prstGeom prst="line">
            <a:avLst/>
          </a:prstGeom>
          <a:ln w="22225" cap="flat" cmpd="sng" algn="ctr">
            <a:solidFill>
              <a:srgbClr val="ACC6D0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1158875" y="3505200"/>
            <a:ext cx="1295400" cy="0"/>
          </a:xfrm>
          <a:prstGeom prst="line">
            <a:avLst/>
          </a:prstGeom>
          <a:ln w="22225" cap="flat" cmpd="sng" algn="ctr">
            <a:solidFill>
              <a:srgbClr val="ACC6D0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179513" y="2386013"/>
            <a:ext cx="1309688" cy="109061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1589088" y="2265363"/>
            <a:ext cx="477838" cy="477838"/>
          </a:xfrm>
          <a:prstGeom prst="ellipse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endParaRPr lang="ru-RU" sz="700" b="1" baseline="30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2509838" y="2968625"/>
            <a:ext cx="477838" cy="477838"/>
          </a:xfrm>
          <a:prstGeom prst="ellipse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endParaRPr lang="ru-RU" sz="700" b="1" baseline="30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4002088" y="3519488"/>
            <a:ext cx="477838" cy="477838"/>
          </a:xfrm>
          <a:prstGeom prst="ellipse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-5 </a:t>
            </a:r>
            <a:r>
              <a:rPr lang="ru-RU" sz="7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endParaRPr lang="ru-RU" sz="700" b="1" baseline="30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 flipH="1">
            <a:off x="6678613" y="2519363"/>
            <a:ext cx="2130425" cy="0"/>
          </a:xfrm>
          <a:prstGeom prst="line">
            <a:avLst/>
          </a:prstGeom>
          <a:ln w="22225" cap="flat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6" name="Chart 3">
            <a:extLst>
              <a:ext uri="{FF2B5EF4-FFF2-40B4-BE49-F238E27FC236}">
                <a16:creationId xmlns:a16="http://schemas.microsoft.com/office/drawing/2014/main" id="{71E15EB4-58B8-49AC-A9E7-5030D3560E7C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84718930"/>
              </p:ext>
            </p:extLst>
          </p:nvPr>
        </p:nvGraphicFramePr>
        <p:xfrm>
          <a:off x="6878638" y="2343150"/>
          <a:ext cx="2243137" cy="2305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62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608763" y="3836988"/>
            <a:ext cx="2667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7D85D52-A6C7-43D6-894A-32122706ACB5}" type="datetime'''''''''15''0''''''''''''''''0''''''''''''''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50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808788" y="4489450"/>
            <a:ext cx="66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A365B57-5A23-47C6-92F0-16BAE31A421C}" type="datetime'0''''''''''''''''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altLang="en-US" sz="100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675438" y="4264025"/>
            <a:ext cx="2000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7CFC60C-B1CE-41D5-B0B6-7F6D64D2B3F6}" type="datetime'''''''''''''''''''''''''''5''''0''''''''''''''0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608763" y="3205163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E0E14CB-5153-4631-87F9-400A3C607E18}" type="datetime'''3''''0''''''''''''''''0''''''''''''0''''''''''''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3000</a:t>
            </a:fld>
            <a:endParaRPr lang="en-US" altLang="en-US" sz="100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608763" y="4060825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E91F7F8-D774-4492-95D4-260E3FCCBB65}" type="datetime'''''''1''''''''''''''''''''''00''''''''''''''''''''0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000</a:t>
            </a:fld>
            <a:endParaRPr lang="en-US" altLang="en-US" sz="100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608763" y="3633788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0F32847-38B7-4BFE-8372-898D692C0503}" type="datetime'''2''''''''''''''''''''''''0''''''0''''0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US" altLang="en-US" sz="100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608763" y="2979738"/>
            <a:ext cx="2667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F0AECAA-7D68-4662-BA1C-6F11E13AA61F}" type="datetime'''''''''''''''''''''''''''''3''''''''5''00''''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50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3" name="Text Placeholder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608763" y="3408363"/>
            <a:ext cx="2667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3C0DB6A-51BE-4C23-AEC1-4CF712F72958}" type="datetime'''''2''''''''''''''''''''''''''5''''''''''''''''''0''''0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50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608763" y="2778125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09E06A2-E06C-4403-9ED8-D463C2EAF193}" type="datetime'''''4''0''''''''''''''''''''''''''''''''00''''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4000</a:t>
            </a:fld>
            <a:endParaRPr lang="en-US" altLang="en-US" sz="100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608763" y="2552700"/>
            <a:ext cx="2667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BB9B0BA-6589-44FA-9609-1A6EAC25C0B6}" type="datetime'''''''''''4''''''''''''''''''''''5''''''''0''''''''''0'''''">
              <a:rPr lang="ru-RU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500</a:t>
            </a:fld>
            <a:endParaRPr lang="ru-RU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1" name="Text Placeholder 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608763" y="2349500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0A43276-C4B3-4587-BCB4-44F1C2642374}" type="datetime'''5''''''''''0''''''''''''0''''''''''0'''''">
              <a:rPr lang="en-US" altLang="en-US" sz="10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5000</a:t>
            </a:fld>
            <a:endParaRPr lang="en-US" altLang="en-US" sz="1000" dirty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Placeholder 10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05738" y="4608513"/>
            <a:ext cx="390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C4B2E1-FD81-4C9F-B2FE-C072A43CD4D6}" type="datetime'В''''/''''''''''''о'''''''''''''''' ''''+''''''''''''5'">
              <a:rPr lang="en-US" altLang="en-US" sz="10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В/о +5</a:t>
            </a:fld>
            <a:endParaRPr lang="en-US" altLang="en-US" sz="1000" b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 Placeholder 10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851650" y="4608513"/>
            <a:ext cx="219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B8E3D0-A212-4335-BC1B-A98E9BB7FF88}" type="datetime'''''''''В''''''''''''''''''/''''''''''''о'''''''">
              <a:rPr lang="en-US" altLang="en-US" sz="10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В/о</a:t>
            </a:fld>
            <a:endParaRPr lang="en-US" altLang="en-US" sz="1000" b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 Placeholder 99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08763" y="1882775"/>
            <a:ext cx="235267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Актуальные технические знания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(часов)</a:t>
            </a:r>
          </a:p>
        </p:txBody>
      </p:sp>
      <p:sp>
        <p:nvSpPr>
          <p:cNvPr id="44" name="Text Placeholder 107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10625" y="4608513"/>
            <a:ext cx="457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6BEC58-BCBA-4D87-9F21-18FA6A11A1C6}" type="datetime'''В''/''о'''''''''''' +''''''''''''''''''1''''''''''''''0'''">
              <a:rPr lang="en-US" altLang="en-US" sz="1000" b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В/о +10</a:t>
            </a:fld>
            <a:endParaRPr lang="en-US" altLang="en-US" sz="1000" b="0">
              <a:solidFill>
                <a:srgbClr val="5454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BCG_FootNote_Box"/>
          <p:cNvSpPr txBox="1">
            <a:spLocks noChangeArrowheads="1"/>
          </p:cNvSpPr>
          <p:nvPr/>
        </p:nvSpPr>
        <p:spPr bwMode="auto">
          <a:xfrm>
            <a:off x="301649" y="6630080"/>
            <a:ext cx="7283402" cy="110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anchor="b" anchorCtr="0">
            <a:spAutoFit/>
          </a:bodyPr>
          <a:lstStyle/>
          <a:p>
            <a:pPr eaLnBrk="0" fontAlgn="base" hangingPunct="0">
              <a:lnSpc>
                <a:spcPct val="90000"/>
              </a:lnSpc>
            </a:pPr>
            <a:r>
              <a:rPr lang="ru-RU" sz="800" dirty="0">
                <a:solidFill>
                  <a:srgbClr val="7F7F7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: прогноз потребности в навыках </a:t>
            </a:r>
            <a:r>
              <a:rPr lang="ru-RU" sz="800" dirty="0" err="1">
                <a:solidFill>
                  <a:srgbClr val="7F7F7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EE</a:t>
            </a:r>
            <a:r>
              <a:rPr lang="ru-RU" sz="800" dirty="0">
                <a:solidFill>
                  <a:srgbClr val="7F7F7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анализ BCG</a:t>
            </a:r>
          </a:p>
        </p:txBody>
      </p:sp>
      <p:sp>
        <p:nvSpPr>
          <p:cNvPr id="30" name="TextBox 29"/>
          <p:cNvSpPr txBox="1"/>
          <p:nvPr/>
        </p:nvSpPr>
        <p:spPr>
          <a:xfrm rot="1323750">
            <a:off x="7758113" y="3090863"/>
            <a:ext cx="1387475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 dirty="0">
                <a:solidFill>
                  <a:srgbClr val="177B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период жизни 10 лет</a:t>
            </a:r>
          </a:p>
        </p:txBody>
      </p:sp>
      <p:sp>
        <p:nvSpPr>
          <p:cNvPr id="31" name="TextBox 30"/>
          <p:cNvSpPr txBox="1"/>
          <p:nvPr/>
        </p:nvSpPr>
        <p:spPr>
          <a:xfrm rot="1553987">
            <a:off x="7832725" y="3524250"/>
            <a:ext cx="1325563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>
                <a:solidFill>
                  <a:srgbClr val="79A2B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период жизни 5 лет</a:t>
            </a:r>
          </a:p>
        </p:txBody>
      </p:sp>
      <p:sp>
        <p:nvSpPr>
          <p:cNvPr id="32" name="TextBox 31"/>
          <p:cNvSpPr txBox="1"/>
          <p:nvPr/>
        </p:nvSpPr>
        <p:spPr>
          <a:xfrm rot="1528401">
            <a:off x="7783513" y="3910013"/>
            <a:ext cx="1485900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 dirty="0">
                <a:solidFill>
                  <a:srgbClr val="66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период жизни 2,5 года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205175" y="3421063"/>
            <a:ext cx="4809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ч./</a:t>
            </a:r>
            <a:r>
              <a:rPr lang="ru-RU" sz="900" dirty="0" err="1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</a:t>
            </a:r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211214" y="3929063"/>
            <a:ext cx="5450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ч./нед.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9285827" y="4264025"/>
            <a:ext cx="5450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ч./</a:t>
            </a:r>
            <a:r>
              <a:rPr lang="ru-RU" sz="900" dirty="0" err="1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</a:t>
            </a:r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264400" y="2314575"/>
            <a:ext cx="1138238" cy="414338"/>
          </a:xfrm>
          <a:prstGeom prst="roundRect">
            <a:avLst/>
          </a:prstGeom>
          <a:solidFill>
            <a:srgbClr val="E3E3E3"/>
          </a:solidFill>
          <a:ln w="9525" cap="flat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реднем 4800 ч. на получение диплома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888413" y="2311400"/>
            <a:ext cx="1057275" cy="554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часов, необходимое для поддержания компетенции</a:t>
            </a:r>
          </a:p>
        </p:txBody>
      </p:sp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19DCE7F8-FB0C-48AE-A41A-075176A8881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0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FC0C762-486C-4C06-B51B-F918761E3D61}"/>
              </a:ext>
            </a:extLst>
          </p:cNvPr>
          <p:cNvSpPr txBox="1"/>
          <p:nvPr/>
        </p:nvSpPr>
        <p:spPr>
          <a:xfrm>
            <a:off x="1030720" y="5280308"/>
            <a:ext cx="8666163" cy="113098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ложности и задачи</a:t>
            </a:r>
          </a:p>
          <a:p>
            <a:pPr marL="324000" lvl="1" indent="-216000">
              <a:spcAft>
                <a:spcPts val="600"/>
              </a:spcAft>
              <a:buClr>
                <a:srgbClr val="295E7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в </a:t>
            </a:r>
            <a:r>
              <a:rPr lang="ru-RU" sz="1200" b="1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обучении/повышении квалификации </a:t>
            </a:r>
            <a:r>
              <a:rPr lang="ru-RU" sz="1200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вобождающихся трудящихся при переходе к более высококвалифицированному труду</a:t>
            </a:r>
          </a:p>
          <a:p>
            <a:pPr marL="324000" lvl="1" indent="-216000">
              <a:spcAft>
                <a:spcPts val="600"/>
              </a:spcAft>
              <a:buClr>
                <a:srgbClr val="295E7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200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200" b="1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очных механизмов </a:t>
            </a:r>
            <a:r>
              <a:rPr lang="ru-RU" sz="1200" dirty="0">
                <a:solidFill>
                  <a:srgbClr val="4D4D4D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ех, кто неспособен справиться с переменами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2100F94-3F49-43E1-B51F-3878CEDBF3EE}"/>
              </a:ext>
            </a:extLst>
          </p:cNvPr>
          <p:cNvSpPr txBox="1"/>
          <p:nvPr/>
        </p:nvSpPr>
        <p:spPr>
          <a:xfrm>
            <a:off x="895350" y="5032573"/>
            <a:ext cx="10152063" cy="30777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>
            <a:spAutoFit/>
          </a:bodyPr>
          <a:lstStyle/>
          <a:p>
            <a:pPr marL="0" lvl="3"/>
            <a:r>
              <a:rPr lang="ru-RU" sz="14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ьшему риску автоматизации подвержены профессии, предполагающие рутинную деятельность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E3A38AF-28FD-4B67-956E-D7798E2754AC}"/>
              </a:ext>
            </a:extLst>
          </p:cNvPr>
          <p:cNvSpPr txBox="1"/>
          <p:nvPr/>
        </p:nvSpPr>
        <p:spPr>
          <a:xfrm>
            <a:off x="11268064" y="221338"/>
            <a:ext cx="531883" cy="288000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id="{044D8F10-8EB3-4713-9BE9-CE1E2BAD624B}"/>
              </a:ext>
            </a:extLst>
          </p:cNvPr>
          <p:cNvSpPr txBox="1">
            <a:spLocks/>
          </p:cNvSpPr>
          <p:nvPr/>
        </p:nvSpPr>
        <p:spPr>
          <a:xfrm>
            <a:off x="519953" y="289308"/>
            <a:ext cx="11199712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п устаревания навыков и знаний </a:t>
            </a:r>
            <a:r>
              <a:rPr lang="ru-RU" sz="18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15-20 лет удваивается </a:t>
            </a: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чтобы не отставать, нужно дополнительное обучение</a:t>
            </a:r>
          </a:p>
        </p:txBody>
      </p:sp>
      <p:sp>
        <p:nvSpPr>
          <p:cNvPr id="68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6" y="6525199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142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92583"/>
              </p:ext>
            </p:ext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Слайд think-cell" r:id="rId51" imgW="270" imgH="270" progId="TCLayout.ActiveDocument.1">
                  <p:embed/>
                </p:oleObj>
              </mc:Choice>
              <mc:Fallback>
                <p:oleObj name="Слайд think-cell" r:id="rId51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4940371" y="986882"/>
            <a:ext cx="4636999" cy="54743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gray">
          <a:xfrm>
            <a:off x="1143000" y="0"/>
            <a:ext cx="158750" cy="158750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aphicFrame>
        <p:nvGraphicFramePr>
          <p:cNvPr id="86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66549755"/>
              </p:ext>
            </p:extLst>
          </p:nvPr>
        </p:nvGraphicFramePr>
        <p:xfrm>
          <a:off x="296863" y="4672013"/>
          <a:ext cx="11696700" cy="168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71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344150" y="5643563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11-27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1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2913" y="6026151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3334DE5-77CE-40CD-B0AB-BB1EB8AC7CCF}" type="datetime'''''''''''''''''''''''''''1''''''''''''''''''''''''1''''%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1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5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92900" y="6042025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70-85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7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154238" y="6194425"/>
            <a:ext cx="196850" cy="168275"/>
          </a:xfrm>
          <a:prstGeom prst="rect">
            <a:avLst/>
          </a:prstGeom>
          <a:solidFill>
            <a:srgbClr val="D4DF33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F9E2025-5801-402E-89C7-556FB8995264}" type="datetime'''''''''''''''''''''0''''%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%</a:t>
            </a:fld>
            <a:endParaRPr kumimoji="0" lang="ru-RU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2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93800" y="6194425"/>
            <a:ext cx="196850" cy="168275"/>
          </a:xfrm>
          <a:prstGeom prst="rect">
            <a:avLst/>
          </a:prstGeom>
          <a:solidFill>
            <a:srgbClr val="4E98C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57062EC-915A-43AD-9372-7CF3738B0EF7}" type="datetime'0''''''''''''''''''''''''''%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0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12788" y="6194425"/>
            <a:ext cx="196850" cy="168275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13DC68A4-702A-4174-A0AC-BB04AE618366}" type="datetime'''''''''''0''''''''''''''''''''''''''%''''''''''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6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342688" y="5630864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3183C35-6521-4417-8A33-A9D2563CD30B}" type="datetime'''''''''''''3''''''''''''''''''''''7''''''''%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7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2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981450" y="6178551"/>
            <a:ext cx="196850" cy="168275"/>
          </a:xfrm>
          <a:prstGeom prst="rect">
            <a:avLst/>
          </a:prstGeom>
          <a:solidFill>
            <a:srgbClr val="8EC6A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72022AF-3083-4D73-B0A0-9F87884ECF9A}" type="datetime'''''''''''''''''''1''''''''''''''''''''%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9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937750" y="6132514"/>
            <a:ext cx="196850" cy="168275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BE828D6-CCE7-4E7E-8080-415875EC2F60}" type="datetime'''''''''''''''4''%''''''''''''''''''''''''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4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5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74813" y="6194425"/>
            <a:ext cx="196850" cy="168275"/>
          </a:xfrm>
          <a:prstGeom prst="rect">
            <a:avLst/>
          </a:prstGeom>
          <a:solidFill>
            <a:srgbClr val="8EC6A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78614F-0F16-4C58-B6D7-6F254B9F9E3D}" type="datetime'''''''''''''''''''''''''''''''''0''''''''%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5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863263" y="5767389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E92CCE43-E25B-4001-9FE1-D27E08E71C25}" type="datetime'''''''''''''2''''''''''''''8''%''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8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5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364038" y="6194426"/>
            <a:ext cx="392113" cy="168275"/>
          </a:xfrm>
          <a:prstGeom prst="rect">
            <a:avLst/>
          </a:prstGeom>
          <a:solidFill>
            <a:srgbClr val="D4DF33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0,01%</a:t>
            </a:r>
          </a:p>
        </p:txBody>
      </p:sp>
      <p:sp>
        <p:nvSpPr>
          <p:cNvPr id="140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211888" y="5308600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50-65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4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00438" y="6118226"/>
            <a:ext cx="1968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52E9A03-18B3-49CD-B26E-F747AFD90080}" type="datetime'''''''5''''''''''''''''''''%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5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6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289550" y="5661026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32CC4301-0B1A-4F51-9850-213A1D03C446}" type="datetime'''''''''''3''''''''''''''''''''''''''''''''5%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5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4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249988" y="5797551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192490D-DE7D-4630-B0C3-B109551E30FF}" type="datetime'''''''''''''''''''''26''''''''%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6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4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70563" y="5707064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CD4949C-051D-4BC0-B3A7-C705C3F158CE}" type="datetime'''''''''''''''''3''''''''''''''''''2''''''%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2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8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07188" y="6194426"/>
            <a:ext cx="317500" cy="168275"/>
          </a:xfrm>
          <a:prstGeom prst="rect">
            <a:avLst/>
          </a:prstGeom>
          <a:solidFill>
            <a:srgbClr val="D4DF33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0,1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9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75613" y="5462589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66DD3BAC-3BC2-4A8D-B1D7-79014EB26F92}" type="datetime'4''''''''''''8%''''''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48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7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594600" y="5432426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12B256F5-B7BB-437E-88D5-2BF4DD9A9D4C}" type="datetime'''''''''''''''''''''''''''5''''''''''''''0''''''''''''''%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50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0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556625" y="5492751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66072D73-CAB2-4659-927A-276C16C32297}" type="datetime'''''''4''''6''''''''''''''''''''''''''''%''''''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46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2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036050" y="5889626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F45D01F1-6DA7-4C2D-B1DE-DC4624240179}" type="datetime'''''''''''''''2''''''''''''''''''''''''''''0''''''''%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63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0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63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3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82250" y="5965826"/>
            <a:ext cx="271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68EA0D88-E2CD-444F-96BE-E3A7979EBB39}" type="datetime'''''''''''''1''''''''5''''''''''''''''%'''''''">
              <a:rPr kumimoji="0" lang="ru-RU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5%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38" name="Text Placeholder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518525" y="4699000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33-49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6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944813" y="5765800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56-74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4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06775" y="5948363"/>
            <a:ext cx="385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61-79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2" name="Text Placeholder 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906839" y="6026150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66-84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2" name="Text Placeholder 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352925" y="6042025"/>
            <a:ext cx="414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86-104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7" name="Text Placeholder 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51451" y="5033963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40-55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Text Placeholder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708650" y="5126038"/>
            <a:ext cx="393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45-60.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5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556500" y="4576763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23-39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4" name="Text Placeholder 3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037513" y="4637088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28-44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7" name="Text Placeholder 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1304588" y="4973638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36-52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6" name="Text Placeholder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997950" y="5491163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53-69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8" name="Text Placeholder 3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896475" y="5978525"/>
            <a:ext cx="280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7-23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Text Placeholder 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825164" y="5246688"/>
            <a:ext cx="347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16-32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ee4pContent1"/>
          <p:cNvSpPr txBox="1"/>
          <p:nvPr/>
        </p:nvSpPr>
        <p:spPr>
          <a:xfrm>
            <a:off x="695485" y="2777335"/>
            <a:ext cx="1530000" cy="606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1928‒1945 гг. р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Сейчас 76‒93 л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9" name="ee4pContent2"/>
          <p:cNvSpPr txBox="1"/>
          <p:nvPr/>
        </p:nvSpPr>
        <p:spPr>
          <a:xfrm>
            <a:off x="2911355" y="2787650"/>
            <a:ext cx="1530000" cy="606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1946‒1964 гг. р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Сейчас 57‒75 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00" name="ee4pContent3"/>
          <p:cNvSpPr txBox="1"/>
          <p:nvPr/>
        </p:nvSpPr>
        <p:spPr>
          <a:xfrm>
            <a:off x="5140987" y="2770188"/>
            <a:ext cx="1530000" cy="606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1965‒1980 гг. р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Сейчас 41‒56 г.</a:t>
            </a:r>
          </a:p>
        </p:txBody>
      </p:sp>
      <p:sp>
        <p:nvSpPr>
          <p:cNvPr id="101" name="ee4pContent4"/>
          <p:cNvSpPr txBox="1"/>
          <p:nvPr/>
        </p:nvSpPr>
        <p:spPr>
          <a:xfrm>
            <a:off x="7604330" y="2778390"/>
            <a:ext cx="1530000" cy="606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1981‒1997 гг. р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Сейчас 24‒40 л.</a:t>
            </a:r>
          </a:p>
        </p:txBody>
      </p:sp>
      <p:sp>
        <p:nvSpPr>
          <p:cNvPr id="102" name="ee4pContent5"/>
          <p:cNvSpPr txBox="1"/>
          <p:nvPr/>
        </p:nvSpPr>
        <p:spPr>
          <a:xfrm>
            <a:off x="9814459" y="2787650"/>
            <a:ext cx="1530000" cy="606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1998‒2014 гг. р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Сейчас 7‒23 л.</a:t>
            </a:r>
          </a:p>
        </p:txBody>
      </p:sp>
      <p:sp>
        <p:nvSpPr>
          <p:cNvPr id="103" name="ee4pHeader1"/>
          <p:cNvSpPr txBox="1"/>
          <p:nvPr/>
        </p:nvSpPr>
        <p:spPr>
          <a:xfrm>
            <a:off x="642343" y="2086240"/>
            <a:ext cx="2139209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95E7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олчаливое поколение</a:t>
            </a:r>
          </a:p>
        </p:txBody>
      </p:sp>
      <p:sp>
        <p:nvSpPr>
          <p:cNvPr id="104" name="ee4pHeader2"/>
          <p:cNvSpPr txBox="1"/>
          <p:nvPr/>
        </p:nvSpPr>
        <p:spPr>
          <a:xfrm>
            <a:off x="2921613" y="2086240"/>
            <a:ext cx="1530000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5E7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ебибумер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95E7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ee4pHeader3"/>
          <p:cNvSpPr txBox="1"/>
          <p:nvPr/>
        </p:nvSpPr>
        <p:spPr>
          <a:xfrm>
            <a:off x="5124493" y="2086240"/>
            <a:ext cx="1530000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95E7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коление Х</a:t>
            </a:r>
          </a:p>
        </p:txBody>
      </p:sp>
      <p:sp>
        <p:nvSpPr>
          <p:cNvPr id="106" name="ee4pHeader4"/>
          <p:cNvSpPr txBox="1"/>
          <p:nvPr/>
        </p:nvSpPr>
        <p:spPr>
          <a:xfrm>
            <a:off x="7604330" y="2086240"/>
            <a:ext cx="1530000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5E7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иллениал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95E7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ee4pHeader5"/>
          <p:cNvSpPr txBox="1"/>
          <p:nvPr/>
        </p:nvSpPr>
        <p:spPr>
          <a:xfrm>
            <a:off x="9829878" y="2086240"/>
            <a:ext cx="1530000" cy="6477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295E7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коление Z</a:t>
            </a:r>
          </a:p>
        </p:txBody>
      </p:sp>
      <p:sp>
        <p:nvSpPr>
          <p:cNvPr id="113" name="TextBox 112"/>
          <p:cNvSpPr txBox="1"/>
          <p:nvPr/>
        </p:nvSpPr>
        <p:spPr>
          <a:xfrm rot="16200000">
            <a:off x="-574675" y="5567363"/>
            <a:ext cx="1733550" cy="209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 рабочей силы</a:t>
            </a:r>
          </a:p>
        </p:txBody>
      </p:sp>
      <p:cxnSp>
        <p:nvCxnSpPr>
          <p:cNvPr id="119" name="Straight Connector 64"/>
          <p:cNvCxnSpPr/>
          <p:nvPr/>
        </p:nvCxnSpPr>
        <p:spPr>
          <a:xfrm>
            <a:off x="7308043" y="1625600"/>
            <a:ext cx="0" cy="460800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miter lim="800000"/>
          </a:ln>
          <a:effectLst>
            <a:outerShdw sx="0" sy="0" rotWithShape="0">
              <a:scrgbClr r="0" g="0" b="0"/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66"/>
          <p:cNvCxnSpPr/>
          <p:nvPr/>
        </p:nvCxnSpPr>
        <p:spPr>
          <a:xfrm flipH="1">
            <a:off x="2689516" y="1431985"/>
            <a:ext cx="0" cy="4804312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miter lim="800000"/>
          </a:ln>
          <a:effectLst>
            <a:outerShdw sx="0" sy="0" rotWithShape="0">
              <a:scrgbClr r="0" g="0" b="0"/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6017472" y="976579"/>
            <a:ext cx="235487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Поколения» рабоче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илы сегодня</a:t>
            </a:r>
          </a:p>
        </p:txBody>
      </p:sp>
      <p:sp>
        <p:nvSpPr>
          <p:cNvPr id="217" name="TextBox 216"/>
          <p:cNvSpPr txBox="1"/>
          <p:nvPr/>
        </p:nvSpPr>
        <p:spPr>
          <a:xfrm>
            <a:off x="9702072" y="3253942"/>
            <a:ext cx="2209406" cy="140017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ольше времени на образование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ажность соблюдения баланса между профессиональной и личной жизнью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сокий уровень цифровой грамотност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отовы на финансовые уступки ради гибкости трудового графика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иоритет возможностям роста</a:t>
            </a:r>
          </a:p>
        </p:txBody>
      </p:sp>
      <p:sp>
        <p:nvSpPr>
          <p:cNvPr id="218" name="TextBox 217"/>
          <p:cNvSpPr txBox="1"/>
          <p:nvPr/>
        </p:nvSpPr>
        <p:spPr>
          <a:xfrm>
            <a:off x="7428919" y="3266629"/>
            <a:ext cx="2046180" cy="12779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сокий уровень цифровой грамотност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ольшой интерес к глобальным изменениям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ереход к гибким формам занятост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меют отстаивать свои ценности и принципы</a:t>
            </a:r>
          </a:p>
        </p:txBody>
      </p:sp>
      <p:sp>
        <p:nvSpPr>
          <p:cNvPr id="230" name="Прямоугольник 229"/>
          <p:cNvSpPr/>
          <p:nvPr/>
        </p:nvSpPr>
        <p:spPr>
          <a:xfrm>
            <a:off x="528006" y="3221560"/>
            <a:ext cx="2224716" cy="10001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аконопослушны и очень консервативны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екрасно умеют себя контролировать и молчать о чём угодно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ети доцифровой эпохи</a:t>
            </a:r>
          </a:p>
        </p:txBody>
      </p:sp>
      <p:sp>
        <p:nvSpPr>
          <p:cNvPr id="231" name="Прямоугольник 230"/>
          <p:cNvSpPr/>
          <p:nvPr/>
        </p:nvSpPr>
        <p:spPr>
          <a:xfrm>
            <a:off x="5001616" y="3220758"/>
            <a:ext cx="2193213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целены на карьерный ро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ивносят качество, строгую трудовую этику и адаптивность в культуру компан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k-KZ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енят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свое время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тличаются индивидуализмом и самодостаточностью</a:t>
            </a:r>
          </a:p>
        </p:txBody>
      </p:sp>
      <p:sp>
        <p:nvSpPr>
          <p:cNvPr id="57" name="ee4pContent2">
            <a:extLst>
              <a:ext uri="{FF2B5EF4-FFF2-40B4-BE49-F238E27FC236}">
                <a16:creationId xmlns:a16="http://schemas.microsoft.com/office/drawing/2014/main" id="{1C940B4F-4F94-450A-88A5-7E01227744C1}"/>
              </a:ext>
            </a:extLst>
          </p:cNvPr>
          <p:cNvSpPr txBox="1"/>
          <p:nvPr/>
        </p:nvSpPr>
        <p:spPr>
          <a:xfrm>
            <a:off x="2828458" y="3278420"/>
            <a:ext cx="1998985" cy="164200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4D4D4D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4D4D4D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4D4D4D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4D4D4D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4D4D4D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</a:rPr>
              <a:t>Нацелены на стабильную работу 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</a:rPr>
              <a:t>Ценят возможность работать в команде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</a:rPr>
              <a:t>Отличаются патриотичностью и стабильностью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266C4926-8C74-4C6C-850E-5BEF25168EB4}"/>
              </a:ext>
            </a:extLst>
          </p:cNvPr>
          <p:cNvSpPr/>
          <p:nvPr/>
        </p:nvSpPr>
        <p:spPr>
          <a:xfrm>
            <a:off x="9555147" y="988484"/>
            <a:ext cx="2617699" cy="584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удущее «поколение» рабочей силы</a:t>
            </a:r>
          </a:p>
        </p:txBody>
      </p:sp>
      <p:pic>
        <p:nvPicPr>
          <p:cNvPr id="93" name="Рисунок 92" descr="Вырезка экрана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8191" y="1537888"/>
            <a:ext cx="1571882" cy="936757"/>
          </a:xfrm>
          <a:prstGeom prst="rect">
            <a:avLst/>
          </a:prstGeom>
        </p:spPr>
      </p:pic>
      <p:pic>
        <p:nvPicPr>
          <p:cNvPr id="94" name="Рисунок 93" descr="Вырезка экрана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332" y="1558073"/>
            <a:ext cx="1574546" cy="915517"/>
          </a:xfrm>
          <a:prstGeom prst="rect">
            <a:avLst/>
          </a:prstGeom>
        </p:spPr>
      </p:pic>
      <p:pic>
        <p:nvPicPr>
          <p:cNvPr id="95" name="Рисунок 94" descr="Вырезка экрана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64805" y="1553551"/>
            <a:ext cx="1596658" cy="915277"/>
          </a:xfrm>
          <a:prstGeom prst="rect">
            <a:avLst/>
          </a:prstGeom>
        </p:spPr>
      </p:pic>
      <p:pic>
        <p:nvPicPr>
          <p:cNvPr id="97" name="Рисунок 96" descr="Вырезка экрана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895410" y="1550031"/>
            <a:ext cx="1640358" cy="960095"/>
          </a:xfrm>
          <a:prstGeom prst="rect">
            <a:avLst/>
          </a:prstGeom>
        </p:spPr>
      </p:pic>
      <p:pic>
        <p:nvPicPr>
          <p:cNvPr id="114" name="Рисунок 113" descr="Вырезка экрана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40987" y="1567308"/>
            <a:ext cx="1682379" cy="932545"/>
          </a:xfrm>
          <a:prstGeom prst="rect">
            <a:avLst/>
          </a:prstGeom>
        </p:spPr>
      </p:pic>
      <p:sp>
        <p:nvSpPr>
          <p:cNvPr id="229" name="Прямоугольник 228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32" name="Прямоугольник 23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70688" y="5710689"/>
            <a:ext cx="914400" cy="215901"/>
          </a:xfrm>
          <a:prstGeom prst="rect">
            <a:avLst/>
          </a:prstGeom>
          <a:solidFill>
            <a:schemeClr val="bg1"/>
          </a:solidFill>
          <a:ln cap="rnd">
            <a:noFill/>
            <a:prstDash val="solid"/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озраст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2608059" y="5829301"/>
            <a:ext cx="313554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>
            <p:custDataLst>
              <p:tags r:id="rId41"/>
            </p:custDataLst>
          </p:nvPr>
        </p:nvSpPr>
        <p:spPr bwMode="auto">
          <a:xfrm>
            <a:off x="4241800" y="6592888"/>
            <a:ext cx="179388" cy="133350"/>
          </a:xfrm>
          <a:prstGeom prst="rect">
            <a:avLst/>
          </a:prstGeom>
          <a:solidFill>
            <a:srgbClr val="295E7E"/>
          </a:solidFill>
          <a:ln w="127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ru-RU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42"/>
            </p:custDataLst>
          </p:nvPr>
        </p:nvSpPr>
        <p:spPr bwMode="auto">
          <a:xfrm>
            <a:off x="4833938" y="6592888"/>
            <a:ext cx="179388" cy="133350"/>
          </a:xfrm>
          <a:prstGeom prst="rect">
            <a:avLst/>
          </a:prstGeom>
          <a:solidFill>
            <a:srgbClr val="4E98C6"/>
          </a:solidFill>
          <a:ln w="127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ru-RU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3"/>
            </p:custDataLst>
          </p:nvPr>
        </p:nvSpPr>
        <p:spPr bwMode="auto">
          <a:xfrm>
            <a:off x="5426075" y="6592888"/>
            <a:ext cx="179388" cy="133350"/>
          </a:xfrm>
          <a:prstGeom prst="rect">
            <a:avLst/>
          </a:prstGeom>
          <a:solidFill>
            <a:srgbClr val="8EC6A1"/>
          </a:solidFill>
          <a:ln w="127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ru-RU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44"/>
            </p:custDataLst>
          </p:nvPr>
        </p:nvSpPr>
        <p:spPr bwMode="auto">
          <a:xfrm>
            <a:off x="6018213" y="6592888"/>
            <a:ext cx="179388" cy="133350"/>
          </a:xfrm>
          <a:prstGeom prst="rect">
            <a:avLst/>
          </a:prstGeom>
          <a:solidFill>
            <a:srgbClr val="D4DF33"/>
          </a:solidFill>
          <a:ln w="127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ru-RU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656263" y="6588125"/>
            <a:ext cx="260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933608-172C-4586-A159-6D40FE7FD542}" type="datetime'2''''''''''0''''''''3''''''''''''''''''''''0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1" name="Text Placeholder 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064125" y="6588125"/>
            <a:ext cx="260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862EB9-2168-4989-8A7C-A3AE14821BA8}" type="datetime'''''''''''''2''''''''''''''''''02''''''''''''''''5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71988" y="6588125"/>
            <a:ext cx="260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3942F10-FFCA-41A7-9E50-64FA310A18CE}" type="datetime'''''2''''''''''0''''''''''''''''''''''''''''''2''0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248400" y="6588125"/>
            <a:ext cx="260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80F7E8A-737C-4624-AB73-41CE881F1015}" type="datetime'''''''''''''20''''''''''5''''0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50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A29C4CD-E080-4C79-84B9-A0411092836D}"/>
              </a:ext>
            </a:extLst>
          </p:cNvPr>
          <p:cNvSpPr txBox="1"/>
          <p:nvPr/>
        </p:nvSpPr>
        <p:spPr>
          <a:xfrm>
            <a:off x="11395620" y="242024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8" name="Заголовок 1">
            <a:extLst>
              <a:ext uri="{FF2B5EF4-FFF2-40B4-BE49-F238E27FC236}">
                <a16:creationId xmlns:a16="http://schemas.microsoft.com/office/drawing/2014/main" id="{C54C4D06-3F60-4B2B-9496-DE5DF312D5E2}"/>
              </a:ext>
            </a:extLst>
          </p:cNvPr>
          <p:cNvSpPr txBox="1">
            <a:spLocks/>
          </p:cNvSpPr>
          <p:nvPr/>
        </p:nvSpPr>
        <p:spPr>
          <a:xfrm>
            <a:off x="528006" y="308809"/>
            <a:ext cx="11322790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ика должна учитывать </a:t>
            </a:r>
            <a:r>
              <a:rPr lang="ru-RU" sz="18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ые характеристики каждой возрастной группы </a:t>
            </a: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«поколения» рабочей силы</a:t>
            </a:r>
          </a:p>
        </p:txBody>
      </p:sp>
      <p:sp>
        <p:nvSpPr>
          <p:cNvPr id="82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6" y="6525199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1376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85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Слайд think-cell" r:id="rId54" imgW="383" imgH="384" progId="TCLayout.ActiveDocument.1">
                  <p:embed/>
                </p:oleObj>
              </mc:Choice>
              <mc:Fallback>
                <p:oleObj name="Слайд think-cell" r:id="rId54" imgW="383" imgH="38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6E8B5040-936B-45E1-9D64-561291A8E7D6}"/>
              </a:ext>
            </a:extLst>
          </p:cNvPr>
          <p:cNvSpPr txBox="1"/>
          <p:nvPr/>
        </p:nvSpPr>
        <p:spPr>
          <a:xfrm>
            <a:off x="11268064" y="221338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013381B-6C87-4138-AF60-BA97235CCA68}"/>
              </a:ext>
            </a:extLst>
          </p:cNvPr>
          <p:cNvSpPr txBox="1">
            <a:spLocks/>
          </p:cNvSpPr>
          <p:nvPr/>
        </p:nvSpPr>
        <p:spPr>
          <a:xfrm>
            <a:off x="484094" y="289308"/>
            <a:ext cx="11235571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зовы со стороны </a:t>
            </a:r>
            <a:r>
              <a:rPr lang="ru-RU" sz="18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рабочей силы </a:t>
            </a: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аны</a:t>
            </a:r>
          </a:p>
          <a:p>
            <a:pPr lvl="0" algn="just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НЕ соответствием навыков рабочим местам, особенно при модернизации производства</a:t>
            </a:r>
          </a:p>
        </p:txBody>
      </p:sp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4F70E760-F00B-42AA-91AA-C395192EF0B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ee4pHeader2">
            <a:extLst>
              <a:ext uri="{FF2B5EF4-FFF2-40B4-BE49-F238E27FC236}">
                <a16:creationId xmlns:a16="http://schemas.microsoft.com/office/drawing/2014/main" id="{FD2CEDD2-21CD-49EE-BBB9-401EB9173F0E}"/>
              </a:ext>
            </a:extLst>
          </p:cNvPr>
          <p:cNvSpPr txBox="1"/>
          <p:nvPr/>
        </p:nvSpPr>
        <p:spPr>
          <a:xfrm>
            <a:off x="6268879" y="1528298"/>
            <a:ext cx="5170181" cy="42068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ля низкоквалифицированных взрослых, не имеющих ключевых навыков в сфере ИКТ (</a:t>
            </a:r>
            <a:r>
              <a:rPr lang="en-US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IAAC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4545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6" y="6525199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629F11A-CAD2-4FD2-9793-0DC6E98D19B3}" type="slidenum">
              <a:rPr lang="ru-RU" sz="1400" b="1" smtClean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5</a:t>
            </a:fld>
            <a:endParaRPr lang="ru-RU" sz="1400" b="1" dirty="0">
              <a:solidFill>
                <a:srgbClr val="2038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" name="Chart 3">
            <a:extLst>
              <a:ext uri="{FF2B5EF4-FFF2-40B4-BE49-F238E27FC236}">
                <a16:creationId xmlns:a16="http://schemas.microsoft.com/office/drawing/2014/main" id="{8EF0507B-8CDD-4248-B9B3-D7A59574BC0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8664832"/>
              </p:ext>
            </p:extLst>
          </p:nvPr>
        </p:nvGraphicFramePr>
        <p:xfrm>
          <a:off x="6224588" y="5075238"/>
          <a:ext cx="5297487" cy="1039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211" name="Прямая соединительная линия 210"/>
          <p:cNvCxnSpPr/>
          <p:nvPr>
            <p:custDataLst>
              <p:tags r:id="rId4"/>
            </p:custDataLst>
          </p:nvPr>
        </p:nvCxnSpPr>
        <p:spPr bwMode="auto">
          <a:xfrm flipV="1">
            <a:off x="8872538" y="51625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Прямая соединительная линия 211"/>
          <p:cNvCxnSpPr/>
          <p:nvPr>
            <p:custDataLst>
              <p:tags r:id="rId5"/>
            </p:custDataLst>
          </p:nvPr>
        </p:nvCxnSpPr>
        <p:spPr bwMode="auto">
          <a:xfrm>
            <a:off x="8872538" y="5162550"/>
            <a:ext cx="23685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Прямая соединительная линия 212"/>
          <p:cNvCxnSpPr/>
          <p:nvPr>
            <p:custDataLst>
              <p:tags r:id="rId6"/>
            </p:custDataLst>
          </p:nvPr>
        </p:nvCxnSpPr>
        <p:spPr bwMode="auto">
          <a:xfrm>
            <a:off x="11241088" y="5162550"/>
            <a:ext cx="0" cy="415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13550" y="6078538"/>
            <a:ext cx="16827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88D1598-80D8-46EA-8E65-D2B73F3920D6}" type="datetime'''''''''Н''''''''''''''''''о''''''''''''р''''вег''''''и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Норвег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67963" y="6078538"/>
            <a:ext cx="1682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41A99BB-E056-4C19-BAA5-6EB1CBD9F628}" type="datetime'''Л''''''''''''и''''''''''т''в''''''а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Литв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5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19850" y="6078538"/>
            <a:ext cx="1682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03E2220-FD1A-4039-A8C3-AB2CC87005DF}" type="datetime'Ш''''''''''в''''''''''''''''''ец''''и''''''''''''''''''я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Швец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393113" y="6078538"/>
            <a:ext cx="1682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77518E00-0CEB-4560-BC17-05267BCBD696}" type="datetime'Ч''''''''''''''е''''''''''''''''''''''''''''''х''''''''''''ия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Чех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0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997825" y="6078538"/>
            <a:ext cx="1682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7094663-2E17-48E0-8C76-E980814BCC23}" type="datetime'''''''''''''К''''''''о''''''''''р''''е''''''''''''''''''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оре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08838" y="6078538"/>
            <a:ext cx="1682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233E1A3-3EC8-4AEB-BB61-05335D434918}" type="datetime''''''''''''''' ''''''''С''''''Ш''''''''''''''''''''''А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 СШ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972675" y="6078538"/>
            <a:ext cx="168275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302AB9E-907E-4EE2-896C-22501CB86714}" type="datetime'''''''''П''о''''''''''''л''''''''''''''''''''''''''ь''ш''''а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Польш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3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83688" y="6078538"/>
            <a:ext cx="168275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63901FC-FC16-4559-85CE-45AF19C68CE8}" type="datetime'''''Я''п''''''''о''''''ни''''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Япон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04125" y="6078538"/>
            <a:ext cx="1682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F0B22FC-BC91-4F81-8742-3FDB0B891677}" type="datetime'''''''''''''''К''а''н''''''''''''''а''''''''''да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над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8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788400" y="6078538"/>
            <a:ext cx="1682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9D2C244-0A6F-4B03-B9D6-429F290CAD4C}" type="datetime'''''''''''''О''''''''''''''ЭС''''''''''''''Р'''">
              <a:rPr lang="ru-RU" altLang="en-US" sz="1000" b="1" smtClean="0">
                <a:solidFill>
                  <a:srgbClr val="1E73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ОЭСР</a:t>
            </a:fld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1E73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77388" y="6078538"/>
            <a:ext cx="1682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559581E-2F67-45C1-8BE1-97252A1D3770}" type="datetime'''''''В''''''''е''''''''''''н''г''р''''ия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Венгр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761663" y="6078538"/>
            <a:ext cx="1682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7F1C799-7630-434C-8E13-73E75F6E5C90}" type="datetime'Р''о''''с''''''''''''с''и''''''''''я''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Росс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149013" y="6078538"/>
            <a:ext cx="184150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E5E88E4-9548-489C-9B61-8125EA0A9521}" type="datetime'''К''а''з''''''''''''''''а''''''''''''х''''ст''ан'''''''">
              <a:rPr lang="ru-RU" altLang="en-US" sz="1100" b="1" smtClean="0">
                <a:solidFill>
                  <a:srgbClr val="0C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захстан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0C858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805988" y="5045075"/>
            <a:ext cx="501650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C0DDFE-3B51-4D0E-BD8A-D8F06DC91841}" type="datetime'-''''''''6''''''''4''''''''''''''''''''''''''''%'''''''''''''">
              <a:rPr lang="ru-RU" altLang="en-US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-64%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ee4pHeader1"/>
          <p:cNvSpPr txBox="1"/>
          <p:nvPr/>
        </p:nvSpPr>
        <p:spPr>
          <a:xfrm>
            <a:off x="6306474" y="3996073"/>
            <a:ext cx="5132586" cy="658813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82563" marR="0" lvl="3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ольк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7% взрослых повышают квалификацию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219825" y="470304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fld id="{9B5D6CFA-9373-49DF-BE6D-805E64C9603F}" type="thinkcell&lt;?xml version=&quot;1.0&quot; encoding=&quot;UTF-16&quot; standalone=&quot;yes&quot;?&gt;&lt;root reqver=&quot;27037&quot;&gt;&lt;version val=&quot;30798&quot;/&gt;&lt;PersistentType&gt;&lt;m_guid val=&quot;3188f618-995e-4e07-bede-f68dd3cc733b&quot;/&gt;&lt;m_prec&gt;&lt;m_yearfmt&gt;&lt;begin val=&quot;0&quot;/&gt;&lt;end val=&quot;4&quot;/&gt;&lt;/m_yearfmt&gt;&lt;/m_prec&gt;&lt;/PersistentType&gt;&lt;/root&gt;">
              <a:rPr lang="ru-RU" altLang="en-US" sz="90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Процент взрослых (25-64 лет), участвовавших в официальном
и/или неформальном обучении за последние 12 мес.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ee4pHeader1"/>
          <p:cNvSpPr txBox="1"/>
          <p:nvPr/>
        </p:nvSpPr>
        <p:spPr>
          <a:xfrm>
            <a:off x="6306472" y="987425"/>
            <a:ext cx="5132588" cy="736600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82563" lvl="0">
              <a:lnSpc>
                <a:spcPct val="85000"/>
              </a:lnSpc>
              <a:tabLst>
                <a:tab pos="2424113" algn="l"/>
                <a:tab pos="2509838" algn="l"/>
              </a:tabLst>
              <a:defRPr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%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рослых обладают простыми навыками в сфере ИКТ</a:t>
            </a:r>
          </a:p>
        </p:txBody>
      </p:sp>
      <p:graphicFrame>
        <p:nvGraphicFramePr>
          <p:cNvPr id="85" name="Chart 3">
            <a:extLst>
              <a:ext uri="{FF2B5EF4-FFF2-40B4-BE49-F238E27FC236}">
                <a16:creationId xmlns:a16="http://schemas.microsoft.com/office/drawing/2014/main" id="{FF88FEA4-CE38-415E-97E0-7E63E0CC8AB6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31542975"/>
              </p:ext>
            </p:extLst>
          </p:nvPr>
        </p:nvGraphicFramePr>
        <p:xfrm>
          <a:off x="6211888" y="2047875"/>
          <a:ext cx="5310187" cy="1204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338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82050" y="3216275"/>
            <a:ext cx="1682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E2E7E88-A78E-482F-8C66-15739C3CF9A1}" type="datetime'''''С''''''''''''''''''''''Ш''''''''''''''''''''''''''''А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СШ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6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410450" y="3216275"/>
            <a:ext cx="1682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E753906-9E59-4979-AAD6-5C5180BE6811}" type="datetime'''''''''''''С''''''''''''''''''л''''''о''ве''ни''''я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Словен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3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381750" y="3216275"/>
            <a:ext cx="16827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D3780FC-5F93-4710-AD36-B038C403BF01}" type="datetime'''''''''''''К''''''''''''а''з''''''а''х''''ст''а''''''н'">
              <a:rPr lang="ru-RU" altLang="en-US" sz="1000" b="1" smtClean="0">
                <a:solidFill>
                  <a:srgbClr val="0D93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захстан</a:t>
            </a:fld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0D939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7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39150" y="3216275"/>
            <a:ext cx="1682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9B445A8-1F0D-4749-BA04-BC5C2FB6EABB}" type="datetime'''''''''''''О''''''''''''''''''Э''''''''''СР'">
              <a:rPr lang="ru-RU" altLang="en-US" sz="10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ОЭСР</a:t>
            </a:fld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2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096250" y="3216275"/>
            <a:ext cx="1682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800F31C-4D4D-4551-81FF-A64DFE28269D}" type="datetime'''''''''''''''Ро''''''''''''с''с''''и''''''''''я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Росс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1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724650" y="3216275"/>
            <a:ext cx="1682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C330605-FC9F-4BDD-8B7C-53E028301522}" type="datetime'''''''''''''''''''''''''Ли''''''тв''''''''''''''''''''''''''а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Литв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5" name="Text Placeholder 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067550" y="3216275"/>
            <a:ext cx="168275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BB025CB-B49B-4330-B9D0-ABC3AB6F09EE}" type="datetime'''''Ту''р''''''''ц''''''''''''и''''я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Турц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4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53350" y="3216275"/>
            <a:ext cx="1682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53FAE5D-DD47-4A1F-8CBD-2089C77777A3}" type="datetime'''''''''''''К''о''р''''''е''''''''я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оре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8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176000" y="3216275"/>
            <a:ext cx="18415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F2E3B50-C04D-40F5-8842-0B6ACADF0638}" type="datetime'''''''''''''Я''''''''''''''''''п''о''''ния''''''''''''''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Япон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9" name="Text Placeholder 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126538" y="3216275"/>
            <a:ext cx="1682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C8C0440-2CC1-43A7-A9AF-0721B66DC1B8}" type="datetime'''''''В''''''''''''е''''''''н''''''''грия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Венгрия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2" name="Text Placeholder 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147300" y="3216275"/>
            <a:ext cx="18415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8EBA989-E9E2-4C0B-BF6C-66E1EF2A0D4E}" type="datetime'''''''''''Шв''''''''''''''е''''''''ци''''''я''''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Швец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0" name="Text Placeholder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469438" y="3216275"/>
            <a:ext cx="168275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7A469BFE-95A5-4398-A1D4-25BB5F2E7266}" type="datetime'''''''''''''По''''''ль''''ша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Польш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1" name="Text Placeholder 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812338" y="3216275"/>
            <a:ext cx="1682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AD07F81-E21D-44EA-865C-2B923B7C87A1}" type="datetime'К''''''а''''''''''н''''''а''''''''''да''''''''''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нада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6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90200" y="3216275"/>
            <a:ext cx="184150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880C7D4-6CA9-4481-BC51-5F5FFA3F657C}" type="datetime'Н''о''''р''''''в''''е''''''''ги''я''''''''''''''''''''''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Норвег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7" name="Text Placeholder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33100" y="3216275"/>
            <a:ext cx="184150" cy="73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96095E9-A94F-4475-ACD4-6D0DF6CFF567}" type="datetime'''Ф''''''''''''ин''''ля''''''н''''''''''''''д''''''''и''я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Финлянд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4" name="ee4pHeader1"/>
          <p:cNvSpPr txBox="1"/>
          <p:nvPr/>
        </p:nvSpPr>
        <p:spPr>
          <a:xfrm>
            <a:off x="392558" y="987424"/>
            <a:ext cx="5276850" cy="736599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92075">
              <a:lnSpc>
                <a:spcPct val="85000"/>
              </a:lnSpc>
              <a:tabLst>
                <a:tab pos="2424113" algn="l"/>
                <a:tab pos="2509838" algn="l"/>
              </a:tabLst>
              <a:defRPr/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захстане относительно не высокий уровень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и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8" name="Chart 3">
            <a:extLst>
              <a:ext uri="{FF2B5EF4-FFF2-40B4-BE49-F238E27FC236}">
                <a16:creationId xmlns:a16="http://schemas.microsoft.com/office/drawing/2014/main" id="{F48D20C2-12DD-48AC-B3B4-79E532BEF281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477917456"/>
              </p:ext>
            </p:extLst>
          </p:nvPr>
        </p:nvGraphicFramePr>
        <p:xfrm>
          <a:off x="588963" y="2079625"/>
          <a:ext cx="5276850" cy="4035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447" name="Text Placeholder 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141663" y="6078538"/>
            <a:ext cx="1682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07A4DEE-B6A0-4FA2-AE13-F60461C6E59C}" type="datetime'''''Л''''''а''''''''''''''т''''''''''ви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Латв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3" name="Text Placeholder 3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7238" y="6078538"/>
            <a:ext cx="168275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742BDD8-9EE6-4FA8-92FD-C6D71B8C45C3}" type="datetime'Б''''''''е''''''''''''''''ль''г''''''''''''''''''''''''''и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Бельг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4" name="Text Placeholder 3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460625" y="6078538"/>
            <a:ext cx="1682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E1300A5-352F-4680-9B60-EA01763D48EC}" type="datetime'''''К''''оре''я''''''''''''''''''''''''''''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оре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7" name="Text Placeholder 3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178425" y="6078538"/>
            <a:ext cx="18415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B67F571-2B25-4D5F-9563-E3FCBAB214BF}" type="datetime'Ко''''''''''''''''''''л''''''у''''''''м''би''''''я''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олумб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1" name="Text Placeholder 3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96963" y="6078538"/>
            <a:ext cx="1682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F73900E-8942-4974-9595-852872FCCF67}" type="datetime'''''Фр''''''''''''''а''''''''''''''н''''ц''''''''''''ия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Франц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0" name="Text Placeholder 3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438275" y="6078538"/>
            <a:ext cx="1682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41978DD-CF43-4FE0-B663-B119AA483CEE}" type="datetime'''''''''''''''''''''''К''''''анад''''''а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нада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6" name="Text Placeholder 3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119313" y="6078538"/>
            <a:ext cx="168275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D5F1DFF-863B-4819-AD83-47F7E8AC0EC3}" type="datetime'''Я''''п''''''''''''о''''''''''''''н''''и''''''я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Япон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2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801938" y="6078538"/>
            <a:ext cx="1682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B4FF588-3DFE-4C6E-AA84-B1C66440DD5E}" type="datetime'''Г''''''''р''''''''е''''''ц''''''и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Грец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5" name="Text Placeholder 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779588" y="6078538"/>
            <a:ext cx="1682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7ADF2D9-41E9-4985-9ED7-36DEC0D28624}" type="datetime'Г''е''''р''''''''''''''''''''м''''''ан''''''''''и''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Герман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9" name="Text Placeholder 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482975" y="6078538"/>
            <a:ext cx="1682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252BAA5-ECA4-47A6-96ED-FDEA09F1678A}" type="datetime'''В''''''''е''''''''н''г''''''''р''''и''''''''''я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Венгр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" name="Text Placeholder 3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824288" y="6078538"/>
            <a:ext cx="168275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968F08A-A0A3-4332-AD8D-881C84BEB022}" type="datetime'''''''''''''''Т''''ур''''''''''ц''''и''''''я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Турц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8" name="Text Placeholder 3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519738" y="6078538"/>
            <a:ext cx="184150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5FA339B-EBDA-439D-92FF-F66648C757A2}" type="datetime'''''''''''''Ин''''''''''''''д''''''''''''''''''''''ия''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Индия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1" name="Text Placeholder 3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164013" y="6078538"/>
            <a:ext cx="168275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3203547-DFCB-4BAF-98E7-5986F2BB7700}" type="datetime'''  ''''''''''Р''''''''''о''с''''''''''си''я'''''''''''''">
              <a:rPr lang="ru-RU" altLang="en-US" sz="10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  Россия</a:t>
            </a:fld>
            <a:endParaRPr kumimoji="0" lang="ru-RU" sz="10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2" name="Text Placeholder 3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97388" y="6078538"/>
            <a:ext cx="18415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02460BE-FB68-42EF-9CFF-CECEEA9FA27F}" type="datetime'''М''''ек''''''''с''''''''''''''''''''''''ика'''''">
              <a:rPr lang="ru-RU" altLang="en-US" sz="11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Мексика</a:t>
            </a:fld>
            <a:endParaRPr kumimoji="0" lang="ru-RU" sz="110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6" name="Text Placeholder 3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838700" y="6078538"/>
            <a:ext cx="184150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CBD63D2-7E43-4B40-8EB0-2327EEBA053E}" type="datetime'К''''а''''''''''''''''за''''''''хс''''''''та''н'''''''''''">
              <a:rPr lang="ru-RU" altLang="en-US" sz="1100" b="1" smtClean="0">
                <a:solidFill>
                  <a:srgbClr val="0D93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захстан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0D939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5" name="Прямоугольник 554"/>
          <p:cNvSpPr/>
          <p:nvPr/>
        </p:nvSpPr>
        <p:spPr>
          <a:xfrm>
            <a:off x="2828925" y="1724023"/>
            <a:ext cx="2874963" cy="23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900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ДС на одного занятого, в тыс. долл. США (2019)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132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316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Слайд think-cell" r:id="rId97" imgW="383" imgH="384" progId="TCLayout.ActiveDocument.1">
                  <p:embed/>
                </p:oleObj>
              </mc:Choice>
              <mc:Fallback>
                <p:oleObj name="Слайд think-cell" r:id="rId97" imgW="383" imgH="38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6E8B5040-936B-45E1-9D64-561291A8E7D6}"/>
              </a:ext>
            </a:extLst>
          </p:cNvPr>
          <p:cNvSpPr txBox="1"/>
          <p:nvPr/>
        </p:nvSpPr>
        <p:spPr>
          <a:xfrm>
            <a:off x="11268064" y="193906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31626" y="6492875"/>
            <a:ext cx="4143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629F11A-CAD2-4FD2-9793-0DC6E98D19B3}" type="slidenum">
              <a:rPr lang="ru-RU" sz="1400" b="1" smtClean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6</a:t>
            </a:fld>
            <a:endParaRPr lang="ru-RU" sz="1400" b="1" dirty="0">
              <a:solidFill>
                <a:srgbClr val="2038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ee4pHeader1"/>
          <p:cNvSpPr txBox="1"/>
          <p:nvPr/>
        </p:nvSpPr>
        <p:spPr>
          <a:xfrm>
            <a:off x="6521450" y="781050"/>
            <a:ext cx="5127625" cy="320675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3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52%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бочих мест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дверже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иску автоматизации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013381B-6C87-4138-AF60-BA97235CCA68}"/>
              </a:ext>
            </a:extLst>
          </p:cNvPr>
          <p:cNvSpPr txBox="1">
            <a:spLocks/>
          </p:cNvSpPr>
          <p:nvPr/>
        </p:nvSpPr>
        <p:spPr>
          <a:xfrm>
            <a:off x="479425" y="237635"/>
            <a:ext cx="11240240" cy="454135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прос на рабочую силу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имеет потенциал для роста за счет </a:t>
            </a:r>
            <a:r>
              <a:rPr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высокопроизводительных секторов экономики  </a:t>
            </a:r>
          </a:p>
        </p:txBody>
      </p:sp>
      <p:cxnSp>
        <p:nvCxnSpPr>
          <p:cNvPr id="56" name="Прямая соединительная линия 55"/>
          <p:cNvCxnSpPr/>
          <p:nvPr>
            <p:custDataLst>
              <p:tags r:id="rId3"/>
            </p:custDataLst>
          </p:nvPr>
        </p:nvCxnSpPr>
        <p:spPr bwMode="grayWhite">
          <a:xfrm flipV="1">
            <a:off x="6816725" y="1430338"/>
            <a:ext cx="0" cy="1868488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4"/>
            </p:custDataLst>
          </p:nvPr>
        </p:nvCxnSpPr>
        <p:spPr bwMode="grayWhite">
          <a:xfrm>
            <a:off x="11660188" y="1430338"/>
            <a:ext cx="0" cy="1868488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>
            <p:custDataLst>
              <p:tags r:id="rId5"/>
            </p:custDataLst>
          </p:nvPr>
        </p:nvCxnSpPr>
        <p:spPr bwMode="grayWhite">
          <a:xfrm>
            <a:off x="6816724" y="1430338"/>
            <a:ext cx="414338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>
            <p:custDataLst>
              <p:tags r:id="rId6"/>
            </p:custDataLst>
          </p:nvPr>
        </p:nvCxnSpPr>
        <p:spPr bwMode="grayWhite">
          <a:xfrm>
            <a:off x="7437438" y="1430338"/>
            <a:ext cx="422275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6" name="Chart 3">
            <a:extLst>
              <a:ext uri="{FF2B5EF4-FFF2-40B4-BE49-F238E27FC236}">
                <a16:creationId xmlns:a16="http://schemas.microsoft.com/office/drawing/2014/main" id="{C87B2890-49C8-46AB-8446-09F0994E73E5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675126"/>
              </p:ext>
            </p:extLst>
          </p:nvPr>
        </p:nvGraphicFramePr>
        <p:xfrm>
          <a:off x="6734175" y="1347788"/>
          <a:ext cx="5008563" cy="2033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67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26263" y="3341688"/>
            <a:ext cx="12382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6702AB-A970-4F8F-B883-1E49FC01471F}" type="datetime'''П''''е''''''''''''''''''''''''''''р''''''''''у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Перу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620125" y="1690688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F968985-F355-403F-9B45-67C2D38F9F81}" type="datetime'''''''''''''''''5''''''''''1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656763" y="1797050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643A748-5E0A-4521-BDE2-715514F33A3C}" type="datetime'''''''''''''''''''4''''''7'''">
              <a:rPr lang="ru-RU" altLang="en-US" sz="1100" b="1" smtClean="0">
                <a:solidFill>
                  <a:srgbClr val="3B7B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3B7BA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041063" y="2046288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C5987C-C44D-4F9F-A057-8D822C1102EE}" type="datetime'''''''''''3''8''''''''''''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387138" y="2220913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661105C-B58D-433A-AEDD-AF7839C0A7AA}" type="datetime'''''''''''''''''''''''''''''''''''''''''31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039350" y="3341688"/>
            <a:ext cx="123825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6BA8FF-5533-4221-B64F-ABD0F1798551}" type="datetime'К''''''''''''''''''о''''''''''''ре''''''''''''я''''''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оре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656638" y="3341688"/>
            <a:ext cx="123825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D7F725-7510-4C87-B5F0-187D80A5428E}" type="datetime'''''В''''''е''''''''н''''''г''''ри''''''''''''''я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Венгр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272338" y="3341688"/>
            <a:ext cx="123825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93F720-B715-4241-BEF9-D03C1CAA9FBE}" type="datetime'''С''''''ло''в''''''''а''к''''''''''''''''''ия''''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ловак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18413" y="3341688"/>
            <a:ext cx="1238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5CB46AC-9AD2-433D-806F-DE7C13528DDA}" type="datetime'''''''Я''''''''''''''п''''''''о''ни''''''''''''''''''''''я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Япон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64488" y="3341688"/>
            <a:ext cx="1238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11DD740-5F34-4231-90AA-95CFC7DFC92F}" type="datetime'''''''Г''''ер''''м''''''''''''а''''''''''н''''и''я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ерман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731500" y="3341688"/>
            <a:ext cx="12382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C92244-2686-4113-94BF-7B969482760D}" type="datetime'''''''С''''''и''нг''''''''''''''''''''''''ап''''''''''у''''р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ингапур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304213" y="3341688"/>
            <a:ext cx="1365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5065B-B26C-4988-A948-0EF65687A983}" type="datetime'''К''''аз''''''''а''''''х''''ст''''''''''''а''''''н'''''">
              <a:rPr lang="ru-RU" altLang="en-US" sz="1000" b="1" smtClean="0">
                <a:solidFill>
                  <a:srgbClr val="0C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азахстан</a:t>
            </a:fld>
            <a:endParaRPr kumimoji="0" lang="ru-RU" sz="1050" b="1" i="0" strike="noStrike" kern="1200" spc="0" normalizeH="0" noProof="0" dirty="0">
              <a:ln>
                <a:noFill/>
              </a:ln>
              <a:solidFill>
                <a:srgbClr val="0C858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02713" y="3341688"/>
            <a:ext cx="1238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78D6D9-E3F8-4E57-BE48-FB6A951C4AF2}" type="datetime'''''''Ф''''''''''''''р''''''''ан''''''''ц''и''''''''''''''''я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889750" y="1220788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570B0F-27B8-490F-BA86-3314020738C3}" type="datetime'''''''''''''''6''''''''''''''''''8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348788" y="3341688"/>
            <a:ext cx="123825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9DA9AC5-ADF4-48C1-BD50-38955E2C2CF9}" type="datetime'''''Р''о''''с''''''с''''''''''''''и''''''''''''я''''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Росс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686925" y="3341688"/>
            <a:ext cx="136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1E38A4A-F902-42C3-921C-FA5F7003F2FE}" type="datetime'''''О''''''''''Э''С''''''Р'''''''''''''''''''''''''''''''''''">
              <a:rPr lang="ru-RU" altLang="en-US" sz="1000" b="1" smtClean="0">
                <a:solidFill>
                  <a:srgbClr val="2C5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ОЭСР</a:t>
            </a:fld>
            <a:endParaRPr kumimoji="0" lang="ru-RU" sz="1050" b="1" i="0" strike="noStrike" kern="1200" spc="0" normalizeH="0" noProof="0" dirty="0">
              <a:ln>
                <a:noFill/>
              </a:ln>
              <a:solidFill>
                <a:srgbClr val="2C587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385425" y="3341688"/>
            <a:ext cx="12382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2882DF-BEE9-4CFE-9D96-51E102445A61}" type="datetime'''''''''''К''''а''''''н''''''''''а''''''д''''''''''''''''а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077575" y="3341688"/>
            <a:ext cx="1238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5B554-DF04-4C31-8BDC-905DC3D688E7}" type="datetime'''''СШ''''''''''''''''''''''''''''''''''''''''А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ША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423650" y="3341688"/>
            <a:ext cx="12382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436FB6-1CEE-4CEB-AB3A-9F9B4F73553A}" type="datetime'Но''''''рве''''''''''г''''''''''''''''и''''''''я''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Норвег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35825" y="1312863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B5A375-6288-42AF-9361-0D8AB4DEC04E}" type="datetime'''''''''''6''''''''''''4''''''''''''''''''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4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927975" y="1592263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4AB11F-339C-48E5-83A5-005A84C6D405}" type="datetime'''''''''''''''''''''''''''''''''''''''''''''''''''''54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581900" y="1590675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DB8D9F-60A1-4AE2-ACAB-F2B8FA5C981C}" type="datetime'''''''''''''''''''''''''''5''''''''''''''''''''4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274050" y="1654175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0492A6-916A-4160-9154-9CB2ACDDC04A}" type="datetime'5''''''2'''''''''''''''''''''''''''''">
              <a:rPr lang="ru-RU" altLang="en-US" sz="1100" b="1" smtClean="0">
                <a:solidFill>
                  <a:srgbClr val="0C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0C858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66200" y="1735138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697761-34F1-4968-8226-63C94E07018D}" type="datetime'4''''''''''''9''''''''''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002838" y="1897063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A5EC9F5-30F0-464D-882B-F20267345514}" type="datetime'''''''''''''''''''''''''''''''''''''''''''4''3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312275" y="1781175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18DA4B-E785-409E-8889-1CBE3DDD68C1}" type="datetime'''4''''''''''''''''''''''''''''''''''''7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348913" y="1927225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F2691B-9AF8-4F6E-8542-BA761B7DFAD1}" type="datetime'''''''''''''''''''''''''''''4''2''''''''''''''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694988" y="1935163"/>
            <a:ext cx="1968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3607F1-0920-4CAB-8400-E38DACF8574B}" type="datetime'''''''''''''''''''4''''''''''''''''''2'''''''''''''''''''">
              <a:rPr lang="ru-RU" altLang="en-US" sz="1100" b="1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4F70E760-F00B-42AA-91AA-C395192EF0B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D0EAA6AF-77D3-4E75-ACA0-3D04B6F32A4F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White">
          <a:xfrm flipV="1">
            <a:off x="6816725" y="4610100"/>
            <a:ext cx="0" cy="1401763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2002CC19-DEAE-469B-8C46-29ACC5110DE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White">
          <a:xfrm>
            <a:off x="6816725" y="4610100"/>
            <a:ext cx="7366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23D6A790-9795-4A7A-B3EE-5F588F95FF9E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White">
          <a:xfrm>
            <a:off x="7759700" y="4610100"/>
            <a:ext cx="3767138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1B6CAC18-48F6-4641-8A8A-E3F50EEB291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White">
          <a:xfrm>
            <a:off x="11526838" y="4610100"/>
            <a:ext cx="0" cy="1401763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5" name="Chart 3">
            <a:extLst>
              <a:ext uri="{FF2B5EF4-FFF2-40B4-BE49-F238E27FC236}">
                <a16:creationId xmlns:a16="http://schemas.microsoft.com/office/drawing/2014/main" id="{91876FF5-BC2E-4EAF-AE27-45D7E5A009C1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342184659"/>
              </p:ext>
            </p:extLst>
          </p:nvPr>
        </p:nvGraphicFramePr>
        <p:xfrm>
          <a:off x="6734175" y="4389438"/>
          <a:ext cx="4875213" cy="170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172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921500" y="6054725"/>
            <a:ext cx="123825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8F69E9-47E4-4184-8867-40BF3AB07684}" type="datetime'''''''''''''''''''''''''''Ав''''стра''''''лия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Австрал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258050" y="6054725"/>
            <a:ext cx="1238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0807724-4B67-40F2-B280-F321C009F5B7}" type="datetime'''''Яп''''''он''''''''''''''''''''''''''и''''я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Япония</a:t>
            </a:fld>
            <a:endParaRPr kumimoji="0" lang="ru-RU" sz="90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5" name="Текст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594600" y="6054725"/>
            <a:ext cx="1238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18E88B-E635-44F1-8FC0-EC8A80D283AE}" type="datetime'''Г''е''''р''''м''''''''а''''''''''''''''''''н''и''я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Германия</a:t>
            </a:fld>
            <a:endParaRPr kumimoji="0" lang="ru-RU" sz="90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Текст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931150" y="6054725"/>
            <a:ext cx="12382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DE9BADE-9E66-4485-B58F-501C7B278559}" type="datetime'''''''''''К''''''''а''''н''а''''''''''''''''да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нада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Текст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267700" y="6054725"/>
            <a:ext cx="1238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EB6180-E737-493A-BE13-DB92270390CD}" type="datetime'''''''''''И''''''''''т''''ал''''''''''и''''''''''''я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Итал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Текст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597900" y="6054725"/>
            <a:ext cx="136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B0EEDA-FF1B-4048-8089-6DE560E5E239}" type="datetime'''''''О''''''''Э''''''''''''''''''''С''''''''Р'''''''">
              <a:rPr lang="ru-RU" altLang="en-US" sz="1000" b="1" smtClean="0">
                <a:solidFill>
                  <a:srgbClr val="2C5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ОЭСР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rgbClr val="2C587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3" name="Текст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940800" y="6054725"/>
            <a:ext cx="1238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1AC901-BA5B-40C1-9FEF-EC77C614C209}" type="datetime'Фи''''''''''нл''я''''''''''н''''''''''д''''''''''''''''и''''я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Финлянд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Текст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277350" y="6054725"/>
            <a:ext cx="12382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3947B6A-29E3-471D-8709-8DBCF112C5E1}" type="datetime'''''''''''''''''Шв''''''''''е''''ц''''''''''''и''''''''''''я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Швец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Текст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612313" y="6054725"/>
            <a:ext cx="123825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2052909-76FA-4A8F-B99E-836F77C18FC6}" type="datetime'''''''''И''''''''''''''''с''п''''''''''''''ан''''ия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Испан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Текст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285413" y="6054725"/>
            <a:ext cx="123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1CAF974-65DB-4936-A484-3104955272AF}" type="datetime'''''''''''''Ту''''р''''''''''''''ц''''''''и''''я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Турц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Текст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948863" y="6054725"/>
            <a:ext cx="123825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50074-1920-4EA4-AC31-D0FCD7F506B4}" type="datetime'''Гр''''''''''''''''''''''''е''''''''''''''ц''ия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Грец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Текст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615613" y="6054725"/>
            <a:ext cx="1365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DE86F3-933C-40F2-A148-6C218E37D315}" type="datetime'''''''''''''К''''аз''''''''''а''''х''''''с''та''н'''''">
              <a:rPr lang="ru-RU" altLang="en-US" sz="1000" b="1" smtClean="0">
                <a:solidFill>
                  <a:srgbClr val="0C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Казахстан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rgbClr val="0C858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6" name="Текст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958513" y="6054725"/>
            <a:ext cx="123825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FDA181-D600-441A-B4AC-B674E1B16DDC}" type="datetime'''Ве''''нг''''''''''''''''''''''''р''''''''''''''и''''''я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Венгр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Текст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1295063" y="6054725"/>
            <a:ext cx="123825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F214A1-C15D-42DD-BC58-CC686499D85B}" type="datetime'''''Р''''о''''с''с''''''''''''''и''''''''''я'''''''''''">
              <a:rPr lang="ru-RU" altLang="en-US" sz="900" smtClean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Россия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1" name="ee4pHeader1"/>
          <p:cNvSpPr txBox="1"/>
          <p:nvPr/>
        </p:nvSpPr>
        <p:spPr>
          <a:xfrm>
            <a:off x="6521450" y="4036472"/>
            <a:ext cx="5184774" cy="285750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3" algn="ctr">
              <a:lnSpc>
                <a:spcPct val="85000"/>
              </a:lnSpc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% занятых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ют по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бким формам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нятости 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9" name="ee4pHeader1"/>
          <p:cNvSpPr txBox="1"/>
          <p:nvPr/>
        </p:nvSpPr>
        <p:spPr>
          <a:xfrm>
            <a:off x="479425" y="780558"/>
            <a:ext cx="5676612" cy="296863"/>
          </a:xfrm>
          <a:prstGeom prst="rect">
            <a:avLst/>
          </a:prstGeom>
          <a:solidFill>
            <a:srgbClr val="3AB09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3" algn="ctr">
              <a:lnSpc>
                <a:spcPct val="85000"/>
              </a:lnSpc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40% занятых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ют в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опродуктивных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ях</a:t>
            </a:r>
          </a:p>
        </p:txBody>
      </p:sp>
      <p:graphicFrame>
        <p:nvGraphicFramePr>
          <p:cNvPr id="193" name="Chart 3">
            <a:extLst>
              <a:ext uri="{FF2B5EF4-FFF2-40B4-BE49-F238E27FC236}">
                <a16:creationId xmlns:a16="http://schemas.microsoft.com/office/drawing/2014/main" id="{1F13953F-F1B3-465A-B0CF-1FAA1EBB6BD2}"/>
              </a:ext>
            </a:extLst>
          </p:cNvPr>
          <p:cNvGraphicFramePr/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158699150"/>
              </p:ext>
            </p:extLst>
          </p:nvPr>
        </p:nvGraphicFramePr>
        <p:xfrm>
          <a:off x="2522538" y="1479550"/>
          <a:ext cx="2786062" cy="5049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graphicFrame>
        <p:nvGraphicFramePr>
          <p:cNvPr id="875" name="Chart 3"/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837684188"/>
              </p:ext>
            </p:extLst>
          </p:nvPr>
        </p:nvGraphicFramePr>
        <p:xfrm>
          <a:off x="2195513" y="1479550"/>
          <a:ext cx="1169987" cy="5049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509" name="Текст 2">
            <a:extLst>
              <a:ext uri="{FF2B5EF4-FFF2-40B4-BE49-F238E27FC236}">
                <a16:creationId xmlns:a16="http://schemas.microsoft.com/office/drawing/2014/main" id="{3B009DA4-4611-4423-B4BF-8F539B9C4FD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04838" y="2246313"/>
            <a:ext cx="12525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25DE32-904C-4E39-9690-427449C8B9DB}" type="datetime'''''С''''''''е''''''''''''''льс''ко''е хо''''з''''я''й''ство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Сельское хозяйство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2" name="Текст 2">
            <a:extLst>
              <a:ext uri="{FF2B5EF4-FFF2-40B4-BE49-F238E27FC236}">
                <a16:creationId xmlns:a16="http://schemas.microsoft.com/office/drawing/2014/main" id="{9DE1AA57-D8A2-4E33-8D06-8B4D7182BE1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023938" y="1635125"/>
            <a:ext cx="8334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181E2B-6E0A-47BB-9298-E8EC1757BCA3}" type="datetime'''Об''р''''''''''а''''з''''''о''''''в''а''н''''и''е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Образование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4" name="Текст 2">
            <a:extLst>
              <a:ext uri="{FF2B5EF4-FFF2-40B4-BE49-F238E27FC236}">
                <a16:creationId xmlns:a16="http://schemas.microsoft.com/office/drawing/2014/main" id="{757A630A-6D35-4346-85A6-0426563D5B12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11200" y="3467100"/>
            <a:ext cx="11461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A7AE8C-46F1-4146-9F11-BAD01613E502}" type="datetime'Ад''''''''м.''д''''е''ят''''''''''ел''ьн''''о''''''''сть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Адм.деятельность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3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914650" y="5919788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58A19B-949F-488E-8122-18064E76655B}" type="datetime'2%''''''''''''''''''''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2914650" y="3173413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420AD6D-BEF8-42B1-90D5-07DB43A3DC4B}" type="datetime'2''''''''''''%''''''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1" name="Текст 2">
            <a:extLst>
              <a:ext uri="{FF2B5EF4-FFF2-40B4-BE49-F238E27FC236}">
                <a16:creationId xmlns:a16="http://schemas.microsoft.com/office/drawing/2014/main" id="{3F0124D8-45D1-457C-94EB-DCF5B0FC316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42950" y="2855913"/>
            <a:ext cx="11144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CC2E3D-7585-423B-8241-09BCE25E02A0}" type="datetime'Зд''рав''оох''''''''''р''а''''''''''''не''н''и''''е''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Здравоохранение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1" name="Текст 2">
            <a:extLst>
              <a:ext uri="{FF2B5EF4-FFF2-40B4-BE49-F238E27FC236}">
                <a16:creationId xmlns:a16="http://schemas.microsoft.com/office/drawing/2014/main" id="{35EE4CE5-BCFC-404F-9DDB-0A28FF924FD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282700" y="4687888"/>
            <a:ext cx="5746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B22991-483B-4272-8E02-C84339125F2A}" type="datetime'''Т''''''о''''''''''р''''''''''''г''овл''''я''''''''''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Торговля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5" name="Текст 2">
            <a:extLst>
              <a:ext uri="{FF2B5EF4-FFF2-40B4-BE49-F238E27FC236}">
                <a16:creationId xmlns:a16="http://schemas.microsoft.com/office/drawing/2014/main" id="{AF2B29F3-51FF-4C69-9FC8-0FC96D4548D0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30213" y="2551113"/>
            <a:ext cx="142716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44A3BE-EF57-4309-A2A7-2BE8D9621527}" type="datetime'Про''ж''ив''а''''''''''''''ни''е'''' и ''п''и''та''н''ие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Проживание и питание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6" name="Текст 2">
            <a:extLst>
              <a:ext uri="{FF2B5EF4-FFF2-40B4-BE49-F238E27FC236}">
                <a16:creationId xmlns:a16="http://schemas.microsoft.com/office/drawing/2014/main" id="{FAFEE1B1-E60F-4713-B4F5-F88198DC6818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11225" y="1939925"/>
            <a:ext cx="946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532632-EA47-4A82-80AE-33F65E2215C6}" type="datetime'''''Г''ос''упр''''ав''''''л''''''''е''''''''''''ни''е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Госуправление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6" name="Текст 2">
            <a:extLst>
              <a:ext uri="{FF2B5EF4-FFF2-40B4-BE49-F238E27FC236}">
                <a16:creationId xmlns:a16="http://schemas.microsoft.com/office/drawing/2014/main" id="{DC1A6C54-B234-454A-8666-B99A387492B7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74688" y="3771900"/>
            <a:ext cx="1182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0E6BD2-5C21-47B9-BC60-A87A53C83123}" type="datetime'''''Про''''''чие в''''''и''''''''ды'' ''у''''''''''с''лу''г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Прочие виды услуг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3" name="Текст 2">
            <a:extLst>
              <a:ext uri="{FF2B5EF4-FFF2-40B4-BE49-F238E27FC236}">
                <a16:creationId xmlns:a16="http://schemas.microsoft.com/office/drawing/2014/main" id="{C4C84E5B-F6CE-4E65-A3D7-2D7840BBA39C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35038" y="4992688"/>
            <a:ext cx="9223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90FE81-00CA-4452-A6B7-723C69835636}" type="datetime'Н''''ед''ви''''''''''''''''жи''мо''с''''''т''''''''''''ь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Недвижимость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9" name="Текст 2">
            <a:extLst>
              <a:ext uri="{FF2B5EF4-FFF2-40B4-BE49-F238E27FC236}">
                <a16:creationId xmlns:a16="http://schemas.microsoft.com/office/drawing/2014/main" id="{0FBD48A3-7044-4616-A4D6-8BEA2C9AD64F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58775" y="3162300"/>
            <a:ext cx="1498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EC141A-D6DE-43EB-BF87-36BEFBFE6FDD}" type="datetime'Ис''к''у''''с''''с''тво,'''''''''' разв''''ле''чен''''ия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Искусство, развлечения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8" name="Текст 2">
            <a:extLst>
              <a:ext uri="{FF2B5EF4-FFF2-40B4-BE49-F238E27FC236}">
                <a16:creationId xmlns:a16="http://schemas.microsoft.com/office/drawing/2014/main" id="{1800E327-8955-4628-A95E-B7BA38655555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84238" y="4078288"/>
            <a:ext cx="9731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564316-D3A6-4B8D-B065-E730883241A8}" type="datetime'Ст''''ро''и''''''''''тел''''ь''с''тв''''''''о'''''' 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Строительство 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1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2914650" y="5310188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8FFBDA-5A0A-489D-9302-7CBA9C0EAB34}" type="datetime'2''''''''''''''''''''''''''''''''''''''''''''''''''%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0" name="Текст 2">
            <a:extLst>
              <a:ext uri="{FF2B5EF4-FFF2-40B4-BE49-F238E27FC236}">
                <a16:creationId xmlns:a16="http://schemas.microsoft.com/office/drawing/2014/main" id="{301A565B-E03E-4293-832F-6F81FC3A138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206500" y="4383088"/>
            <a:ext cx="6508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0023CC-0E20-40F7-92D8-7AF3D4423186}" type="datetime'''''''Т''р''''а''н''''с''по''''''р''т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Транспорт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4" name="Текст 2">
            <a:extLst>
              <a:ext uri="{FF2B5EF4-FFF2-40B4-BE49-F238E27FC236}">
                <a16:creationId xmlns:a16="http://schemas.microsoft.com/office/drawing/2014/main" id="{E92CED9F-B541-4A02-8BE5-27352E53230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52450" y="5299075"/>
            <a:ext cx="13049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F853A1-98F8-4C1C-BB33-2AB9EA55C163}" type="datetime'''Ин''фо''р''''м''а''''''''''ц''ия'' и'' ''''с''''в''яз''ь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Информация и связь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5" name="Текст 2">
            <a:extLst>
              <a:ext uri="{FF2B5EF4-FFF2-40B4-BE49-F238E27FC236}">
                <a16:creationId xmlns:a16="http://schemas.microsoft.com/office/drawing/2014/main" id="{3539A09D-5B2A-410B-A94A-15E43CF3E2C4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41350" y="5603875"/>
            <a:ext cx="12160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911999-7F58-4EFE-B1AC-4D46D7128EFD}" type="datetime'Про''''ф.'' и'''''' ''''нау''''ч''.'' ''де''''я''''т.''''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Проф. и науч. деят.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7" name="Текст 2">
            <a:extLst>
              <a:ext uri="{FF2B5EF4-FFF2-40B4-BE49-F238E27FC236}">
                <a16:creationId xmlns:a16="http://schemas.microsoft.com/office/drawing/2014/main" id="{47C5A34A-D3DF-4507-A3CF-05510D388B0E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87388" y="5908675"/>
            <a:ext cx="11699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2D7229-3614-41BF-842B-37B9A2CF3F99}" type="datetime'Фи''''''''н.'' ''''''и ''ст''р''а''х''.'''' ''де''''ят.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Фин. и страх. деят.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8" name="Текст 2">
            <a:extLst>
              <a:ext uri="{FF2B5EF4-FFF2-40B4-BE49-F238E27FC236}">
                <a16:creationId xmlns:a16="http://schemas.microsoft.com/office/drawing/2014/main" id="{A872AA20-8521-47A7-B92C-405B44C796D8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49300" y="6215063"/>
            <a:ext cx="11080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EDC4CF-2BD5-4E31-9A4C-D505FAD30FDB}" type="datetime'П''''''''''''''р''''''о''''м''''ышл''ен''''''н''ос''''т''''ь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Промышленность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9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2154238" y="1646238"/>
            <a:ext cx="2873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8560C9-5336-4086-8C1D-FCF884F68FB1}" type="datetime'''''1''''''''''''3''''''''''%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0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2663825" y="1951038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071C6E-3390-4399-BBDC-8BD65211DE9D}" type="datetime'''''''''6''''''''''''''%''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1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2154238" y="2257425"/>
            <a:ext cx="2873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EEFE16-CD70-4818-B34B-BADCDD4C50DE}" type="datetime'''''1''''''''''3''''''%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2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2914650" y="2562225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43C55F-A5A2-4FF3-BA9D-39C0E6E2F106}" type="datetime'''''''''''''''''''''2''%''''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3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2663825" y="2867025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2B60CC-ABD0-463F-B276-7B4AE1022D49}" type="datetime'''''6%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5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851150" y="3478213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8DF659-9C0E-4214-9D8A-C0232E4336C4}" type="datetime'3''''''''''''''%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6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2789238" y="3783013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0B77F8-8F82-422C-A713-67E8FCE96D1B}" type="datetime'''''''''4''''%''''''''''''''''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7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2600325" y="4089400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F808BB-D0F4-4E1E-9345-F2281BD79F74}" type="datetime'''7''''''''''''''''''''''''''''''%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8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2600325" y="4394200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E2EB834-9ADE-4B30-996F-DD864062135B}" type="datetime'''''''''''7''%''''''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0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2914650" y="5003800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56696F7-AC9C-426A-8B57-FEC17B4A1F69}" type="datetime'''''''''''''''''2''''''''''''''''''''''''''''%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9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1965325" y="4699000"/>
            <a:ext cx="2873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5FC7FE-BB07-4B7B-9C9E-0FE9D3AA32B7}" type="datetime'''''''''''''''''''1''''''''''''''6''''''''''''''''''''%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2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51150" y="5614988"/>
            <a:ext cx="217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F049E2-326F-490B-B90C-6AF29B5E4E9E}" type="datetime'''''''''''''3''''''''''''''''%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4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2216150" y="6226175"/>
            <a:ext cx="2873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3C27A3-292D-404A-A8D7-27194D7EE3FF}" type="datetime'''''12''''''''''''''''''''''''''''''''''''''''''''''''%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3" name="TextBox 542">
            <a:extLst>
              <a:ext uri="{FF2B5EF4-FFF2-40B4-BE49-F238E27FC236}">
                <a16:creationId xmlns:a16="http://schemas.microsoft.com/office/drawing/2014/main" id="{2023D5EA-40D1-4A40-8309-6778962A9683}"/>
              </a:ext>
            </a:extLst>
          </p:cNvPr>
          <p:cNvSpPr txBox="1"/>
          <p:nvPr/>
        </p:nvSpPr>
        <p:spPr>
          <a:xfrm>
            <a:off x="1570625" y="1227428"/>
            <a:ext cx="1712975" cy="11856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Доля в занятости</a:t>
            </a:r>
          </a:p>
        </p:txBody>
      </p:sp>
      <p:cxnSp>
        <p:nvCxnSpPr>
          <p:cNvPr id="544" name="Прямая соединительная линия 543">
            <a:extLst>
              <a:ext uri="{FF2B5EF4-FFF2-40B4-BE49-F238E27FC236}">
                <a16:creationId xmlns:a16="http://schemas.microsoft.com/office/drawing/2014/main" id="{4C973281-32F1-4C69-9E06-AEBB43EC2FDB}"/>
              </a:ext>
            </a:extLst>
          </p:cNvPr>
          <p:cNvCxnSpPr/>
          <p:nvPr/>
        </p:nvCxnSpPr>
        <p:spPr>
          <a:xfrm flipV="1">
            <a:off x="386963" y="1410995"/>
            <a:ext cx="533044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TextBox 544">
            <a:extLst>
              <a:ext uri="{FF2B5EF4-FFF2-40B4-BE49-F238E27FC236}">
                <a16:creationId xmlns:a16="http://schemas.microsoft.com/office/drawing/2014/main" id="{DFDE4948-7E5C-4B1D-A5F0-58BDF025CAE7}"/>
              </a:ext>
            </a:extLst>
          </p:cNvPr>
          <p:cNvSpPr txBox="1"/>
          <p:nvPr/>
        </p:nvSpPr>
        <p:spPr>
          <a:xfrm>
            <a:off x="3316578" y="1205090"/>
            <a:ext cx="2786061" cy="1540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ВДС на одного занятого, тыс. </a:t>
            </a:r>
            <a:r>
              <a:rPr lang="ru-RU" sz="1050" i="1" dirty="0" err="1"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682" name="Straight Connector 231"/>
          <p:cNvCxnSpPr/>
          <p:nvPr/>
        </p:nvCxnSpPr>
        <p:spPr>
          <a:xfrm>
            <a:off x="5708158" y="1538159"/>
            <a:ext cx="0" cy="146539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TextBox 541">
            <a:extLst>
              <a:ext uri="{FF2B5EF4-FFF2-40B4-BE49-F238E27FC236}">
                <a16:creationId xmlns:a16="http://schemas.microsoft.com/office/drawing/2014/main" id="{CC1A121F-3951-4B24-BC16-11E47499BC9E}"/>
              </a:ext>
            </a:extLst>
          </p:cNvPr>
          <p:cNvSpPr txBox="1"/>
          <p:nvPr/>
        </p:nvSpPr>
        <p:spPr>
          <a:xfrm>
            <a:off x="5318570" y="2059577"/>
            <a:ext cx="904875" cy="4672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ru-R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занятых</a:t>
            </a:r>
          </a:p>
        </p:txBody>
      </p:sp>
      <p:cxnSp>
        <p:nvCxnSpPr>
          <p:cNvPr id="696" name="Straight Connector 231"/>
          <p:cNvCxnSpPr/>
          <p:nvPr/>
        </p:nvCxnSpPr>
        <p:spPr>
          <a:xfrm flipH="1">
            <a:off x="5708158" y="3095626"/>
            <a:ext cx="0" cy="2340000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7" name="TextBox 696">
            <a:extLst>
              <a:ext uri="{FF2B5EF4-FFF2-40B4-BE49-F238E27FC236}">
                <a16:creationId xmlns:a16="http://schemas.microsoft.com/office/drawing/2014/main" id="{CC1A121F-3951-4B24-BC16-11E47499BC9E}"/>
              </a:ext>
            </a:extLst>
          </p:cNvPr>
          <p:cNvSpPr txBox="1"/>
          <p:nvPr/>
        </p:nvSpPr>
        <p:spPr>
          <a:xfrm>
            <a:off x="5296344" y="3877291"/>
            <a:ext cx="904875" cy="4672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43% занятых</a:t>
            </a:r>
          </a:p>
        </p:txBody>
      </p:sp>
      <p:cxnSp>
        <p:nvCxnSpPr>
          <p:cNvPr id="705" name="Straight Connector 231"/>
          <p:cNvCxnSpPr/>
          <p:nvPr/>
        </p:nvCxnSpPr>
        <p:spPr>
          <a:xfrm flipH="1">
            <a:off x="5708158" y="5547519"/>
            <a:ext cx="0" cy="864000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" name="TextBox 705">
            <a:extLst>
              <a:ext uri="{FF2B5EF4-FFF2-40B4-BE49-F238E27FC236}">
                <a16:creationId xmlns:a16="http://schemas.microsoft.com/office/drawing/2014/main" id="{CC1A121F-3951-4B24-BC16-11E47499BC9E}"/>
              </a:ext>
            </a:extLst>
          </p:cNvPr>
          <p:cNvSpPr txBox="1"/>
          <p:nvPr/>
        </p:nvSpPr>
        <p:spPr>
          <a:xfrm>
            <a:off x="5274755" y="5743116"/>
            <a:ext cx="904875" cy="4672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% занятых</a:t>
            </a:r>
          </a:p>
        </p:txBody>
      </p:sp>
      <p:sp>
        <p:nvSpPr>
          <p:cNvPr id="843" name="Прямоугольник 842"/>
          <p:cNvSpPr/>
          <p:nvPr>
            <p:custDataLst>
              <p:tags r:id="rId89"/>
            </p:custDataLst>
          </p:nvPr>
        </p:nvSpPr>
        <p:spPr bwMode="auto">
          <a:xfrm>
            <a:off x="249238" y="6627813"/>
            <a:ext cx="179388" cy="133350"/>
          </a:xfrm>
          <a:prstGeom prst="rect">
            <a:avLst/>
          </a:prstGeom>
          <a:solidFill>
            <a:srgbClr val="DEA0B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4" name="Прямоугольник 843"/>
          <p:cNvSpPr/>
          <p:nvPr>
            <p:custDataLst>
              <p:tags r:id="rId90"/>
            </p:custDataLst>
          </p:nvPr>
        </p:nvSpPr>
        <p:spPr bwMode="auto">
          <a:xfrm>
            <a:off x="2052638" y="6627813"/>
            <a:ext cx="179388" cy="133350"/>
          </a:xfrm>
          <a:prstGeom prst="rect">
            <a:avLst/>
          </a:prstGeom>
          <a:solidFill>
            <a:srgbClr val="4E98C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5" name="Прямоугольник 844"/>
          <p:cNvSpPr/>
          <p:nvPr>
            <p:custDataLst>
              <p:tags r:id="rId91"/>
            </p:custDataLst>
          </p:nvPr>
        </p:nvSpPr>
        <p:spPr bwMode="auto">
          <a:xfrm>
            <a:off x="3954463" y="6627813"/>
            <a:ext cx="179388" cy="133350"/>
          </a:xfrm>
          <a:prstGeom prst="rect">
            <a:avLst/>
          </a:prstGeom>
          <a:solidFill>
            <a:srgbClr val="3AB09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1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479425" y="6623050"/>
            <a:ext cx="1471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F780DE-51AB-4A3F-9B79-260101AB9AFA}" type="datetime'Н''''и''зк''оп''р''''''''''''оизводи''т''ел''''''''''ьные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Низкопроизводительные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0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2282825" y="6623050"/>
            <a:ext cx="15700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511664-FFE1-4DEC-9DC5-AB0E03F3194D}" type="datetime'Сре''днеп''''''р''оизв''''''о''''д''ит''е''л''''ьн''ые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Среднепроизводительные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8" name="Текст 2">
            <a:extLst>
              <a:ext uri="{FF2B5EF4-FFF2-40B4-BE49-F238E27FC236}">
                <a16:creationId xmlns:a16="http://schemas.microsoft.com/office/drawing/2014/main" id="{0A5CFCE8-8386-40CA-BA2D-CDB121EE1FBB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184650" y="6623050"/>
            <a:ext cx="1558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4FAD8E-5A5F-4746-BC86-420E4B7371B8}" type="datetime'''''В''ыс''''ок''опр''ои''''''зво''дит''''''ел''''''''''ьные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Высокопроизводительные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80A7BD37-85C5-4760-8817-8326C3500DA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05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4E41277A-C329-4A89-9073-561EC1D3DF6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05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F3435D4E-3EFE-4A51-8CAC-9927CFE0CAF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05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Прямоугольник 12" hidden="1">
            <a:extLst>
              <a:ext uri="{FF2B5EF4-FFF2-40B4-BE49-F238E27FC236}">
                <a16:creationId xmlns:a16="http://schemas.microsoft.com/office/drawing/2014/main" id="{07D2DE08-9942-49DA-845A-780F9E6AA9A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05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B35B5331-AC80-466E-B721-8ABBE5F817E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04BB543-7C6F-4BBE-B046-F906B028D086}"/>
              </a:ext>
            </a:extLst>
          </p:cNvPr>
          <p:cNvSpPr/>
          <p:nvPr/>
        </p:nvSpPr>
        <p:spPr>
          <a:xfrm>
            <a:off x="334962" y="1570037"/>
            <a:ext cx="4772469" cy="1545394"/>
          </a:xfrm>
          <a:prstGeom prst="rect">
            <a:avLst/>
          </a:prstGeom>
          <a:solidFill>
            <a:srgbClr val="C00000">
              <a:alpha val="10000"/>
            </a:srgbClr>
          </a:solidFill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8E7A1EB6-D6BD-4A67-9703-6B83F31289C4}"/>
              </a:ext>
            </a:extLst>
          </p:cNvPr>
          <p:cNvSpPr/>
          <p:nvPr/>
        </p:nvSpPr>
        <p:spPr>
          <a:xfrm>
            <a:off x="328612" y="5499854"/>
            <a:ext cx="4754055" cy="979489"/>
          </a:xfrm>
          <a:prstGeom prst="rect">
            <a:avLst/>
          </a:prstGeom>
          <a:solidFill>
            <a:srgbClr val="00B050">
              <a:alpha val="10000"/>
            </a:srgbClr>
          </a:solidFill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120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6114" name="Объект 4" hidden="1">
                        <a:extLst>
                          <a:ext uri="{FF2B5EF4-FFF2-40B4-BE49-F238E27FC236}">
                            <a16:creationId xmlns:a16="http://schemas.microsoft.com/office/drawing/2014/main" id="{78A9CD0E-75AB-4DEF-A4D2-6AE619DF59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id="{566388B1-E548-405F-B9CA-F8E907D6918A}"/>
              </a:ext>
            </a:extLst>
          </p:cNvPr>
          <p:cNvCxnSpPr>
            <a:cxnSpLocks/>
            <a:stCxn id="49" idx="1"/>
          </p:cNvCxnSpPr>
          <p:nvPr/>
        </p:nvCxnSpPr>
        <p:spPr>
          <a:xfrm>
            <a:off x="237612" y="1375038"/>
            <a:ext cx="15877" cy="3371559"/>
          </a:xfrm>
          <a:prstGeom prst="line">
            <a:avLst/>
          </a:prstGeom>
          <a:ln>
            <a:solidFill>
              <a:srgbClr val="039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4F22D61B-174A-48DB-B89E-604DF15364A8}"/>
              </a:ext>
            </a:extLst>
          </p:cNvPr>
          <p:cNvSpPr/>
          <p:nvPr/>
        </p:nvSpPr>
        <p:spPr>
          <a:xfrm>
            <a:off x="1638002" y="3507843"/>
            <a:ext cx="1619420" cy="644814"/>
          </a:xfrm>
          <a:prstGeom prst="roundRect">
            <a:avLst>
              <a:gd name="adj" fmla="val 34314"/>
            </a:avLst>
          </a:prstGeom>
          <a:solidFill>
            <a:schemeClr val="bg1"/>
          </a:solidFill>
          <a:ln>
            <a:solidFill>
              <a:srgbClr val="F0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5A73035-C952-47E7-8E2B-A7F8EAEC536C}"/>
              </a:ext>
            </a:extLst>
          </p:cNvPr>
          <p:cNvSpPr txBox="1"/>
          <p:nvPr/>
        </p:nvSpPr>
        <p:spPr>
          <a:xfrm>
            <a:off x="2090008" y="3668414"/>
            <a:ext cx="1088785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80000"/>
              </a:lnSpc>
              <a:defRPr/>
            </a:pPr>
            <a:r>
              <a:rPr lang="ru-RU" altLang="en-US" b="1" dirty="0">
                <a:solidFill>
                  <a:srgbClr val="0396A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0 </a:t>
            </a:r>
            <a:r>
              <a:rPr lang="kk-KZ" altLang="en-US" sz="1600" dirty="0">
                <a:solidFill>
                  <a:srgbClr val="153446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</a:rPr>
              <a:t>тыс. </a:t>
            </a:r>
            <a:endParaRPr lang="ru-RU" altLang="en-US" sz="1600" dirty="0">
              <a:solidFill>
                <a:srgbClr val="153446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40081B6-138E-4C2C-9C3E-0B4F01390CB8}"/>
              </a:ext>
            </a:extLst>
          </p:cNvPr>
          <p:cNvSpPr txBox="1"/>
          <p:nvPr/>
        </p:nvSpPr>
        <p:spPr>
          <a:xfrm>
            <a:off x="478074" y="2976707"/>
            <a:ext cx="2764800" cy="317205"/>
          </a:xfrm>
          <a:prstGeom prst="roundRect">
            <a:avLst>
              <a:gd name="adj" fmla="val 14889"/>
            </a:avLst>
          </a:prstGeom>
          <a:solidFill>
            <a:srgbClr val="285F7E"/>
          </a:solidFill>
          <a:ln>
            <a:solidFill>
              <a:srgbClr val="0396AC"/>
            </a:solidFill>
          </a:ln>
        </p:spPr>
        <p:txBody>
          <a:bodyPr wrap="square" bIns="36000">
            <a:spAutoFit/>
          </a:bodyPr>
          <a:lstStyle/>
          <a:p>
            <a:pPr marL="85725">
              <a:lnSpc>
                <a:spcPct val="85000"/>
              </a:lnSpc>
            </a:pPr>
            <a:r>
              <a:rPr lang="kk-KZ" sz="16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ЗАВЕРШИЛИ ОБУЧЕНИЕ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43E44F0B-43CA-4CE8-90A8-26928061A8D1}"/>
              </a:ext>
            </a:extLst>
          </p:cNvPr>
          <p:cNvGrpSpPr/>
          <p:nvPr/>
        </p:nvGrpSpPr>
        <p:grpSpPr>
          <a:xfrm>
            <a:off x="1444817" y="3552810"/>
            <a:ext cx="540000" cy="540000"/>
            <a:chOff x="617840" y="1101450"/>
            <a:chExt cx="540000" cy="540000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16A60BF5-5640-471B-A177-ACFCAC38A066}"/>
                </a:ext>
              </a:extLst>
            </p:cNvPr>
            <p:cNvSpPr/>
            <p:nvPr/>
          </p:nvSpPr>
          <p:spPr>
            <a:xfrm>
              <a:off x="617840" y="1101450"/>
              <a:ext cx="540000" cy="540000"/>
            </a:xfrm>
            <a:prstGeom prst="ellipse">
              <a:avLst/>
            </a:prstGeom>
            <a:solidFill>
              <a:srgbClr val="EDEDED"/>
            </a:solidFill>
            <a:ln w="76200">
              <a:solidFill>
                <a:srgbClr val="339AB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74" name="Рисунок 73">
              <a:extLst>
                <a:ext uri="{FF2B5EF4-FFF2-40B4-BE49-F238E27FC236}">
                  <a16:creationId xmlns:a16="http://schemas.microsoft.com/office/drawing/2014/main" id="{A65F25EC-4E38-4F67-B282-44BE27DCC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802" y="1216753"/>
              <a:ext cx="328075" cy="328075"/>
            </a:xfrm>
            <a:prstGeom prst="rect">
              <a:avLst/>
            </a:prstGeom>
          </p:spPr>
        </p:pic>
      </p:grpSp>
      <p:sp>
        <p:nvSpPr>
          <p:cNvPr id="93" name="Прямоугольник: скругленные углы 92">
            <a:extLst>
              <a:ext uri="{FF2B5EF4-FFF2-40B4-BE49-F238E27FC236}">
                <a16:creationId xmlns:a16="http://schemas.microsoft.com/office/drawing/2014/main" id="{47B072B4-866E-46E6-9BC3-6706DDEEFD75}"/>
              </a:ext>
            </a:extLst>
          </p:cNvPr>
          <p:cNvSpPr/>
          <p:nvPr/>
        </p:nvSpPr>
        <p:spPr>
          <a:xfrm>
            <a:off x="1698385" y="5146131"/>
            <a:ext cx="1542606" cy="644814"/>
          </a:xfrm>
          <a:prstGeom prst="roundRect">
            <a:avLst>
              <a:gd name="adj" fmla="val 34314"/>
            </a:avLst>
          </a:prstGeom>
          <a:solidFill>
            <a:schemeClr val="bg1"/>
          </a:solidFill>
          <a:ln>
            <a:solidFill>
              <a:srgbClr val="F0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EB713C5-6B22-4937-A8B9-D69EB1751460}"/>
              </a:ext>
            </a:extLst>
          </p:cNvPr>
          <p:cNvSpPr txBox="1"/>
          <p:nvPr/>
        </p:nvSpPr>
        <p:spPr>
          <a:xfrm>
            <a:off x="2073577" y="5308392"/>
            <a:ext cx="1088785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80000"/>
              </a:lnSpc>
              <a:defRPr/>
            </a:pPr>
            <a:r>
              <a:rPr lang="ru-RU" altLang="en-US" b="1" dirty="0">
                <a:solidFill>
                  <a:srgbClr val="0396A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7 </a:t>
            </a:r>
            <a:r>
              <a:rPr lang="kk-KZ" altLang="en-US" sz="1600" dirty="0">
                <a:solidFill>
                  <a:srgbClr val="153446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</a:rPr>
              <a:t>тыс. </a:t>
            </a:r>
            <a:endParaRPr lang="ru-RU" altLang="en-US" sz="1600" dirty="0">
              <a:solidFill>
                <a:srgbClr val="153446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4810F8A-E467-4F3C-8B44-E57DF43881BF}"/>
              </a:ext>
            </a:extLst>
          </p:cNvPr>
          <p:cNvSpPr txBox="1"/>
          <p:nvPr/>
        </p:nvSpPr>
        <p:spPr>
          <a:xfrm>
            <a:off x="478073" y="4591361"/>
            <a:ext cx="2825568" cy="276523"/>
          </a:xfrm>
          <a:prstGeom prst="roundRect">
            <a:avLst>
              <a:gd name="adj" fmla="val 20057"/>
            </a:avLst>
          </a:prstGeom>
          <a:solidFill>
            <a:srgbClr val="2A826D"/>
          </a:solidFill>
          <a:ln>
            <a:solidFill>
              <a:srgbClr val="0396AC"/>
            </a:solidFill>
          </a:ln>
        </p:spPr>
        <p:txBody>
          <a:bodyPr wrap="square" tIns="36000" bIns="0" anchor="ctr">
            <a:spAutoFit/>
          </a:bodyPr>
          <a:lstStyle/>
          <a:p>
            <a:pPr marL="85725">
              <a:lnSpc>
                <a:spcPct val="85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ТРУДОУСТРОЕНО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07FE10F3-5C18-419A-801E-F3A7339C54E4}"/>
              </a:ext>
            </a:extLst>
          </p:cNvPr>
          <p:cNvGrpSpPr/>
          <p:nvPr/>
        </p:nvGrpSpPr>
        <p:grpSpPr>
          <a:xfrm>
            <a:off x="1428385" y="5195358"/>
            <a:ext cx="540000" cy="540000"/>
            <a:chOff x="246285" y="1105710"/>
            <a:chExt cx="540000" cy="540000"/>
          </a:xfrm>
        </p:grpSpPr>
        <p:sp>
          <p:nvSpPr>
            <p:cNvPr id="99" name="Овал 98">
              <a:extLst>
                <a:ext uri="{FF2B5EF4-FFF2-40B4-BE49-F238E27FC236}">
                  <a16:creationId xmlns:a16="http://schemas.microsoft.com/office/drawing/2014/main" id="{BD3E4A13-EDB3-4041-937C-6964F164266E}"/>
                </a:ext>
              </a:extLst>
            </p:cNvPr>
            <p:cNvSpPr/>
            <p:nvPr/>
          </p:nvSpPr>
          <p:spPr>
            <a:xfrm>
              <a:off x="246285" y="1105710"/>
              <a:ext cx="540000" cy="540000"/>
            </a:xfrm>
            <a:prstGeom prst="ellipse">
              <a:avLst/>
            </a:prstGeom>
            <a:solidFill>
              <a:srgbClr val="EDEDED"/>
            </a:solidFill>
            <a:ln w="76200">
              <a:solidFill>
                <a:srgbClr val="339AB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100" name="Рисунок 99">
              <a:extLst>
                <a:ext uri="{FF2B5EF4-FFF2-40B4-BE49-F238E27FC236}">
                  <a16:creationId xmlns:a16="http://schemas.microsoft.com/office/drawing/2014/main" id="{3E07C1DA-4767-467A-A1EC-CC17EC4CC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247" y="1221013"/>
              <a:ext cx="328075" cy="328075"/>
            </a:xfrm>
            <a:prstGeom prst="rect">
              <a:avLst/>
            </a:prstGeom>
          </p:spPr>
        </p:pic>
      </p:grpSp>
      <p:sp>
        <p:nvSpPr>
          <p:cNvPr id="49" name="Прямоугольник 52">
            <a:extLst>
              <a:ext uri="{FF2B5EF4-FFF2-40B4-BE49-F238E27FC236}">
                <a16:creationId xmlns:a16="http://schemas.microsoft.com/office/drawing/2014/main" id="{92B34AB2-A288-4EAE-9535-C5B31D1531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612" y="1203802"/>
            <a:ext cx="3051279" cy="342471"/>
          </a:xfrm>
          <a:prstGeom prst="roundRect">
            <a:avLst>
              <a:gd name="adj" fmla="val 27289"/>
            </a:avLst>
          </a:prstGeom>
          <a:solidFill>
            <a:srgbClr val="0396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buClrTx/>
              <a:buFontTx/>
              <a:buNone/>
            </a:pPr>
            <a:r>
              <a:rPr lang="kk-KZ" altLang="ru-RU" sz="1600" dirty="0">
                <a:solidFill>
                  <a:schemeClr val="bg1"/>
                </a:solidFill>
                <a:ea typeface="Malgun Gothic" panose="020B0503020000020004" pitchFamily="34" charset="-127"/>
              </a:rPr>
              <a:t>ОХВАЧЕНО</a:t>
            </a:r>
            <a:endParaRPr lang="ru-RU" altLang="ru-RU" sz="1600" dirty="0">
              <a:solidFill>
                <a:schemeClr val="bg1"/>
              </a:solidFill>
              <a:ea typeface="Malgun Gothic" panose="020B0503020000020004" pitchFamily="34" charset="-127"/>
            </a:endParaRPr>
          </a:p>
        </p:txBody>
      </p:sp>
      <p:sp>
        <p:nvSpPr>
          <p:cNvPr id="106" name="Равнобедренный треугольник 105">
            <a:extLst>
              <a:ext uri="{FF2B5EF4-FFF2-40B4-BE49-F238E27FC236}">
                <a16:creationId xmlns:a16="http://schemas.microsoft.com/office/drawing/2014/main" id="{DD177D10-1F44-4A59-87B7-9D63A832E6B4}"/>
              </a:ext>
            </a:extLst>
          </p:cNvPr>
          <p:cNvSpPr/>
          <p:nvPr/>
        </p:nvSpPr>
        <p:spPr>
          <a:xfrm rot="5400000">
            <a:off x="3022830" y="3367641"/>
            <a:ext cx="1426696" cy="302079"/>
          </a:xfrm>
          <a:prstGeom prst="triangle">
            <a:avLst/>
          </a:prstGeom>
          <a:solidFill>
            <a:srgbClr val="285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8000"/>
              </a:lnSpc>
              <a:defRPr/>
            </a:pPr>
            <a:endParaRPr lang="ru-RU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Равнобедренный треугольник 111">
            <a:extLst>
              <a:ext uri="{FF2B5EF4-FFF2-40B4-BE49-F238E27FC236}">
                <a16:creationId xmlns:a16="http://schemas.microsoft.com/office/drawing/2014/main" id="{2BEE8342-FE12-498F-BB71-100336E2B9B2}"/>
              </a:ext>
            </a:extLst>
          </p:cNvPr>
          <p:cNvSpPr/>
          <p:nvPr/>
        </p:nvSpPr>
        <p:spPr>
          <a:xfrm rot="5400000">
            <a:off x="158407" y="2967158"/>
            <a:ext cx="561480" cy="387142"/>
          </a:xfrm>
          <a:prstGeom prst="triangle">
            <a:avLst/>
          </a:prstGeom>
          <a:solidFill>
            <a:srgbClr val="0396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8000"/>
              </a:lnSpc>
              <a:defRPr/>
            </a:pPr>
            <a:endParaRPr lang="ru-RU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Равнобедренный треугольник 112">
            <a:extLst>
              <a:ext uri="{FF2B5EF4-FFF2-40B4-BE49-F238E27FC236}">
                <a16:creationId xmlns:a16="http://schemas.microsoft.com/office/drawing/2014/main" id="{100AB9A2-40E6-4ABC-B9F8-38F4DF2A45BB}"/>
              </a:ext>
            </a:extLst>
          </p:cNvPr>
          <p:cNvSpPr/>
          <p:nvPr/>
        </p:nvSpPr>
        <p:spPr>
          <a:xfrm rot="5400000">
            <a:off x="144455" y="4529766"/>
            <a:ext cx="561480" cy="387142"/>
          </a:xfrm>
          <a:prstGeom prst="triangle">
            <a:avLst/>
          </a:prstGeom>
          <a:solidFill>
            <a:srgbClr val="0396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8000"/>
              </a:lnSpc>
              <a:defRPr/>
            </a:pPr>
            <a:endParaRPr lang="ru-RU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1B366AA0-F60A-496D-9D15-F70C323AE8D8}"/>
              </a:ext>
            </a:extLst>
          </p:cNvPr>
          <p:cNvSpPr txBox="1">
            <a:spLocks/>
          </p:cNvSpPr>
          <p:nvPr/>
        </p:nvSpPr>
        <p:spPr bwMode="auto">
          <a:xfrm>
            <a:off x="4588062" y="3681184"/>
            <a:ext cx="3273893" cy="262200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/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88"/>
              </a:spcBef>
              <a:buNone/>
              <a:defRPr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 выпускники 9-11 классов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D79187A-F1E4-4151-A438-6056392D7ACA}"/>
              </a:ext>
            </a:extLst>
          </p:cNvPr>
          <p:cNvSpPr txBox="1"/>
          <p:nvPr/>
        </p:nvSpPr>
        <p:spPr>
          <a:xfrm>
            <a:off x="4203294" y="1138829"/>
            <a:ext cx="7655022" cy="383418"/>
          </a:xfrm>
          <a:prstGeom prst="roundRect">
            <a:avLst>
              <a:gd name="adj" fmla="val 42949"/>
            </a:avLst>
          </a:prstGeom>
          <a:solidFill>
            <a:srgbClr val="006699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kk-KZ" sz="15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КРАТКОСРОЧНОЕ ПРОФЕССИОНАЛЬНОЕ ОБУЧЕНИЕ</a:t>
            </a:r>
            <a:endParaRPr lang="en-US" sz="1500" dirty="0">
              <a:solidFill>
                <a:schemeClr val="bg1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C2FDDAE-2590-41C4-9A62-9F55AFB91158}"/>
              </a:ext>
            </a:extLst>
          </p:cNvPr>
          <p:cNvSpPr txBox="1"/>
          <p:nvPr/>
        </p:nvSpPr>
        <p:spPr>
          <a:xfrm>
            <a:off x="4198613" y="4910962"/>
            <a:ext cx="7673840" cy="383418"/>
          </a:xfrm>
          <a:prstGeom prst="roundRect">
            <a:avLst>
              <a:gd name="adj" fmla="val 42949"/>
            </a:avLst>
          </a:prstGeom>
          <a:solidFill>
            <a:srgbClr val="6EC2E0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ПРОЕКТ «МӘҢГІЛІК ЕЛ ЖАСТАРЫ –ИНДУСТРИЯҒА!» («</a:t>
            </a:r>
            <a:r>
              <a:rPr lang="ru-RU" sz="1500" dirty="0" err="1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Серпін</a:t>
            </a:r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»)</a:t>
            </a:r>
            <a:endParaRPr lang="en-US" sz="1500" dirty="0">
              <a:solidFill>
                <a:schemeClr val="bg1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947C8B9B-24C4-437E-A4D8-2F40E0759253}"/>
              </a:ext>
            </a:extLst>
          </p:cNvPr>
          <p:cNvSpPr txBox="1"/>
          <p:nvPr/>
        </p:nvSpPr>
        <p:spPr>
          <a:xfrm>
            <a:off x="4154411" y="3088141"/>
            <a:ext cx="7751321" cy="397829"/>
          </a:xfrm>
          <a:prstGeom prst="roundRect">
            <a:avLst>
              <a:gd name="adj" fmla="val 42949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  <a:sym typeface="Arial" panose="020B0604020202020204" pitchFamily="34" charset="0"/>
              </a:rPr>
              <a:t>ТЕХНИЧЕСКОЕ ПРОФЕССИОНАЛЬНОЕ ОБРАЗОВАНИЕ</a:t>
            </a:r>
            <a:endParaRPr lang="en-US" sz="1500" dirty="0">
              <a:solidFill>
                <a:schemeClr val="bg1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12E40F23-A979-4758-82C9-9D1D6AFB720B}"/>
              </a:ext>
            </a:extLst>
          </p:cNvPr>
          <p:cNvCxnSpPr>
            <a:cxnSpLocks/>
          </p:cNvCxnSpPr>
          <p:nvPr/>
        </p:nvCxnSpPr>
        <p:spPr>
          <a:xfrm>
            <a:off x="7938761" y="1612940"/>
            <a:ext cx="0" cy="1297858"/>
          </a:xfrm>
          <a:prstGeom prst="line">
            <a:avLst/>
          </a:prstGeom>
          <a:ln>
            <a:solidFill>
              <a:srgbClr val="039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: скругленные углы 42">
            <a:extLst>
              <a:ext uri="{FF2B5EF4-FFF2-40B4-BE49-F238E27FC236}">
                <a16:creationId xmlns:a16="http://schemas.microsoft.com/office/drawing/2014/main" id="{4F22D61B-174A-48DB-B89E-604DF15364A8}"/>
              </a:ext>
            </a:extLst>
          </p:cNvPr>
          <p:cNvSpPr/>
          <p:nvPr/>
        </p:nvSpPr>
        <p:spPr>
          <a:xfrm>
            <a:off x="1628174" y="1713464"/>
            <a:ext cx="1619420" cy="644814"/>
          </a:xfrm>
          <a:prstGeom prst="roundRect">
            <a:avLst>
              <a:gd name="adj" fmla="val 34314"/>
            </a:avLst>
          </a:prstGeom>
          <a:solidFill>
            <a:schemeClr val="bg1"/>
          </a:solidFill>
          <a:ln>
            <a:solidFill>
              <a:srgbClr val="F0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43E44F0B-43CA-4CE8-90A8-26928061A8D1}"/>
              </a:ext>
            </a:extLst>
          </p:cNvPr>
          <p:cNvGrpSpPr/>
          <p:nvPr/>
        </p:nvGrpSpPr>
        <p:grpSpPr>
          <a:xfrm>
            <a:off x="1434989" y="1758431"/>
            <a:ext cx="540000" cy="540000"/>
            <a:chOff x="617840" y="1101450"/>
            <a:chExt cx="540000" cy="540000"/>
          </a:xfrm>
        </p:grpSpPr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id="{16A60BF5-5640-471B-A177-ACFCAC38A066}"/>
                </a:ext>
              </a:extLst>
            </p:cNvPr>
            <p:cNvSpPr/>
            <p:nvPr/>
          </p:nvSpPr>
          <p:spPr>
            <a:xfrm>
              <a:off x="617840" y="1101450"/>
              <a:ext cx="540000" cy="540000"/>
            </a:xfrm>
            <a:prstGeom prst="ellipse">
              <a:avLst/>
            </a:prstGeom>
            <a:solidFill>
              <a:srgbClr val="EDEDED"/>
            </a:solidFill>
            <a:ln w="76200">
              <a:solidFill>
                <a:srgbClr val="339AB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A65F25EC-4E38-4F67-B282-44BE27DCC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802" y="1216753"/>
              <a:ext cx="328075" cy="328075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EB713C5-6B22-4937-A8B9-D69EB1751460}"/>
              </a:ext>
            </a:extLst>
          </p:cNvPr>
          <p:cNvSpPr txBox="1"/>
          <p:nvPr/>
        </p:nvSpPr>
        <p:spPr>
          <a:xfrm>
            <a:off x="2063747" y="1876940"/>
            <a:ext cx="1387376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80000"/>
              </a:lnSpc>
              <a:defRPr/>
            </a:pPr>
            <a:r>
              <a:rPr lang="ru-RU" altLang="en-US" b="1" dirty="0">
                <a:solidFill>
                  <a:srgbClr val="0396A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2 </a:t>
            </a:r>
            <a:r>
              <a:rPr lang="kk-KZ" altLang="en-US" sz="1600" dirty="0">
                <a:solidFill>
                  <a:srgbClr val="153446"/>
                </a:solidFill>
                <a:latin typeface="Arial" panose="020B0604020202020204" pitchFamily="34" charset="0"/>
                <a:ea typeface="Malgun Gothic" panose="020B0503020000020004" pitchFamily="34" charset="-127"/>
                <a:cs typeface="Arial" panose="020B0604020202020204" pitchFamily="34" charset="0"/>
              </a:rPr>
              <a:t>тыс. </a:t>
            </a:r>
            <a:endParaRPr lang="ru-RU" altLang="en-US" sz="1600" dirty="0">
              <a:solidFill>
                <a:srgbClr val="153446"/>
              </a:solidFill>
              <a:latin typeface="Arial" panose="020B0604020202020204" pitchFamily="34" charset="0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A2DC34B9-FCD0-44D6-8D65-225E93737A22}"/>
              </a:ext>
            </a:extLst>
          </p:cNvPr>
          <p:cNvCxnSpPr>
            <a:cxnSpLocks/>
          </p:cNvCxnSpPr>
          <p:nvPr/>
        </p:nvCxnSpPr>
        <p:spPr>
          <a:xfrm>
            <a:off x="7949379" y="3618720"/>
            <a:ext cx="1" cy="1017639"/>
          </a:xfrm>
          <a:prstGeom prst="line">
            <a:avLst/>
          </a:prstGeom>
          <a:ln>
            <a:solidFill>
              <a:srgbClr val="039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25084" y="3545715"/>
            <a:ext cx="2696992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Направл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84 тыс. чел 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15256" y="3889838"/>
            <a:ext cx="3223013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Завершили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25,7 тыс. че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590310" y="3987496"/>
            <a:ext cx="32410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  <a:spcBef>
                <a:spcPts val="88"/>
              </a:spcBef>
              <a:defRPr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 лица не имеющие профессионального образования</a:t>
            </a:r>
            <a:endParaRPr lang="ru-RU" alt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08374" y="4233968"/>
            <a:ext cx="391323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Трудоустро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17,7 тыс. чел </a:t>
            </a: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 68,9 % </a:t>
            </a: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A2DC34B9-FCD0-44D6-8D65-225E93737A22}"/>
              </a:ext>
            </a:extLst>
          </p:cNvPr>
          <p:cNvCxnSpPr>
            <a:cxnSpLocks/>
          </p:cNvCxnSpPr>
          <p:nvPr/>
        </p:nvCxnSpPr>
        <p:spPr>
          <a:xfrm>
            <a:off x="7951093" y="5368290"/>
            <a:ext cx="0" cy="1224000"/>
          </a:xfrm>
          <a:prstGeom prst="line">
            <a:avLst/>
          </a:prstGeom>
          <a:ln>
            <a:solidFill>
              <a:srgbClr val="039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7985760" y="5482671"/>
            <a:ext cx="2696992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Охвач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24,8 тыс. чел </a:t>
            </a: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7975932" y="5826794"/>
            <a:ext cx="3223013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Завершили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10,5 тыс. чел 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588062" y="5373705"/>
            <a:ext cx="325835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  <a:spcBef>
                <a:spcPts val="88"/>
              </a:spcBef>
              <a:defRPr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Выпускники 9, 11 классов 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трудоизбыточных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регионов:  </a:t>
            </a:r>
            <a:r>
              <a:rPr lang="ru-RU" alt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лматинской</a:t>
            </a:r>
            <a:r>
              <a:rPr lang="ru-RU" alt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амбылской</a:t>
            </a:r>
            <a:r>
              <a:rPr lang="ru-RU" alt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ызылординской</a:t>
            </a:r>
            <a:r>
              <a:rPr lang="ru-RU" alt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ангистауской</a:t>
            </a:r>
            <a:r>
              <a:rPr lang="ru-RU" alt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, Туркестанской областей и города Шымкента</a:t>
            </a:r>
            <a:endParaRPr lang="ru-RU" alt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7969050" y="6170924"/>
            <a:ext cx="391323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Трудоустро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2,1 тыс. чел </a:t>
            </a: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19,5 % 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30004" y="1662852"/>
            <a:ext cx="384244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Направл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193,6 тыс. чел 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20176" y="2006975"/>
            <a:ext cx="3223013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Завершили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173,9 тыс. чел 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13294" y="2351105"/>
            <a:ext cx="391323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Трудоустро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117,2 тыс. чел </a:t>
            </a: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 67 %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17559" y="1618338"/>
            <a:ext cx="36182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ЕЗРАБОТНЫЕ ЛИЦА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588062" y="1883809"/>
            <a:ext cx="33292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оритетное право имеют</a:t>
            </a:r>
            <a:r>
              <a:rPr lang="kk-KZ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молодежь;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члены малообеспеченных и/или 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ногодетных семей, 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трудоспособные инвалиды.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18212" y="2665733"/>
            <a:ext cx="391323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Выдел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39,4 млрд. тенге 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F473DB3D-C82A-4303-9B68-5B199C41568F}"/>
              </a:ext>
            </a:extLst>
          </p:cNvPr>
          <p:cNvSpPr txBox="1">
            <a:spLocks/>
          </p:cNvSpPr>
          <p:nvPr/>
        </p:nvSpPr>
        <p:spPr bwMode="auto">
          <a:xfrm>
            <a:off x="8037880" y="4528948"/>
            <a:ext cx="3913238" cy="230832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Выделено </a:t>
            </a:r>
            <a:r>
              <a:rPr lang="ru-RU" alt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– 68 млрд. тенге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8D28AB5-0937-4161-92B4-AEFE3C8AC0A6}"/>
              </a:ext>
            </a:extLst>
          </p:cNvPr>
          <p:cNvSpPr txBox="1"/>
          <p:nvPr/>
        </p:nvSpPr>
        <p:spPr>
          <a:xfrm>
            <a:off x="11268064" y="221338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id="{8AF14508-9769-488D-B4D0-B1ED8AAEF953}"/>
              </a:ext>
            </a:extLst>
          </p:cNvPr>
          <p:cNvSpPr txBox="1">
            <a:spLocks/>
          </p:cNvSpPr>
          <p:nvPr/>
        </p:nvSpPr>
        <p:spPr>
          <a:xfrm>
            <a:off x="478073" y="293253"/>
            <a:ext cx="11363138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kk-KZ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еальная подготовка и переобучение </a:t>
            </a: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Госпрограмме «ЕҢБЕК» 2017-2021 годы </a:t>
            </a:r>
          </a:p>
        </p:txBody>
      </p:sp>
      <p:sp>
        <p:nvSpPr>
          <p:cNvPr id="50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23612" y="6453026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Объект 29" hidden="1">
            <a:extLst>
              <a:ext uri="{FF2B5EF4-FFF2-40B4-BE49-F238E27FC236}">
                <a16:creationId xmlns:a16="http://schemas.microsoft.com/office/drawing/2014/main" id="{E574CEBD-9068-4DFA-8C78-4212131BDB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Слайд think-cell" r:id="rId4" imgW="337" imgH="337" progId="TCLayout.ActiveDocument.1">
                  <p:embed/>
                </p:oleObj>
              </mc:Choice>
              <mc:Fallback>
                <p:oleObj name="Слайд think-cell" r:id="rId4" imgW="337" imgH="337" progId="TCLayout.ActiveDocument.1">
                  <p:embed/>
                  <p:pic>
                    <p:nvPicPr>
                      <p:cNvPr id="30" name="Объект 29" hidden="1">
                        <a:extLst>
                          <a:ext uri="{FF2B5EF4-FFF2-40B4-BE49-F238E27FC236}">
                            <a16:creationId xmlns:a16="http://schemas.microsoft.com/office/drawing/2014/main" id="{E574CEBD-9068-4DFA-8C78-4212131B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C680DD1B-9B92-47C9-88EC-58FF035FAF00}"/>
              </a:ext>
            </a:extLst>
          </p:cNvPr>
          <p:cNvSpPr txBox="1"/>
          <p:nvPr/>
        </p:nvSpPr>
        <p:spPr>
          <a:xfrm>
            <a:off x="11268064" y="288013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2D401EC-AF53-41F9-BD6F-DC28ABE1D89A}"/>
              </a:ext>
            </a:extLst>
          </p:cNvPr>
          <p:cNvSpPr txBox="1"/>
          <p:nvPr/>
        </p:nvSpPr>
        <p:spPr>
          <a:xfrm>
            <a:off x="7743275" y="4347809"/>
            <a:ext cx="3947339" cy="307777"/>
          </a:xfrm>
          <a:prstGeom prst="rect">
            <a:avLst/>
          </a:prstGeom>
          <a:solidFill>
            <a:srgbClr val="D6F2EE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ХВАТ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- ежегодно </a:t>
            </a:r>
            <a:r>
              <a:rPr lang="ru-RU" sz="1400" b="1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</a:t>
            </a:r>
            <a:r>
              <a:rPr lang="ru-RU" sz="1200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ыс. молодых казахстанцев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2D3F2D-8214-41DD-9D89-EDB788BD5377}"/>
              </a:ext>
            </a:extLst>
          </p:cNvPr>
          <p:cNvSpPr txBox="1"/>
          <p:nvPr/>
        </p:nvSpPr>
        <p:spPr>
          <a:xfrm>
            <a:off x="2168944" y="4338284"/>
            <a:ext cx="3473874" cy="307777"/>
          </a:xfrm>
          <a:prstGeom prst="rect">
            <a:avLst/>
          </a:prstGeom>
          <a:solidFill>
            <a:srgbClr val="D6F2EE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ХВАТ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- ежегодно </a:t>
            </a:r>
            <a:r>
              <a:rPr lang="ru-RU" sz="1400" b="1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5</a:t>
            </a:r>
            <a:r>
              <a:rPr lang="ru-RU" sz="1200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ыс. человек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2CC5FF-52DF-4B8A-94A8-307F2E366E8B}"/>
              </a:ext>
            </a:extLst>
          </p:cNvPr>
          <p:cNvSpPr txBox="1"/>
          <p:nvPr/>
        </p:nvSpPr>
        <p:spPr>
          <a:xfrm>
            <a:off x="971549" y="3380670"/>
            <a:ext cx="4671269" cy="307777"/>
          </a:xfrm>
          <a:prstGeom prst="rect">
            <a:avLst/>
          </a:prstGeom>
          <a:solidFill>
            <a:srgbClr val="006699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НЛАЙН ОБУЧЕНИЕ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13381B-6C87-4138-AF60-BA97235CC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3" y="365125"/>
            <a:ext cx="11227321" cy="360000"/>
          </a:xfrm>
          <a:solidFill>
            <a:srgbClr val="006699"/>
          </a:solidFill>
        </p:spPr>
        <p:txBody>
          <a:bodyPr vert="horz">
            <a:noAutofit/>
          </a:bodyPr>
          <a:lstStyle/>
          <a:p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навыков трудовых ресурсов по Нацпроекту </a:t>
            </a:r>
            <a:r>
              <a:rPr lang="ru-RU" sz="1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F594C5-980A-41FF-B84B-C419F8147F4B}"/>
              </a:ext>
            </a:extLst>
          </p:cNvPr>
          <p:cNvSpPr txBox="1"/>
          <p:nvPr/>
        </p:nvSpPr>
        <p:spPr>
          <a:xfrm>
            <a:off x="838200" y="1038227"/>
            <a:ext cx="4068300" cy="369332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ПО ОБУЧЕНИЮ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A274-5298-4D39-AAED-66F6C8FC7D7B}"/>
              </a:ext>
            </a:extLst>
          </p:cNvPr>
          <p:cNvSpPr txBox="1"/>
          <p:nvPr/>
        </p:nvSpPr>
        <p:spPr>
          <a:xfrm>
            <a:off x="994617" y="1743313"/>
            <a:ext cx="4648201" cy="307777"/>
          </a:xfrm>
          <a:prstGeom prst="rect">
            <a:avLst/>
          </a:prstGeom>
          <a:solidFill>
            <a:srgbClr val="006699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 ЗАПРОСАМ РАБОТОДАТЕЛЕЙ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DCAF4B-9226-4224-98BB-708C4F7031BC}"/>
              </a:ext>
            </a:extLst>
          </p:cNvPr>
          <p:cNvSpPr txBox="1"/>
          <p:nvPr/>
        </p:nvSpPr>
        <p:spPr>
          <a:xfrm>
            <a:off x="6743698" y="1743194"/>
            <a:ext cx="4648201" cy="307777"/>
          </a:xfrm>
          <a:prstGeom prst="rect">
            <a:avLst/>
          </a:prstGeom>
          <a:solidFill>
            <a:srgbClr val="006699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РАБОЧЕМ МЕСТ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74B312-ED42-4A66-BA5E-A03D5D095555}"/>
              </a:ext>
            </a:extLst>
          </p:cNvPr>
          <p:cNvSpPr txBox="1"/>
          <p:nvPr/>
        </p:nvSpPr>
        <p:spPr>
          <a:xfrm>
            <a:off x="6743699" y="3380670"/>
            <a:ext cx="4648201" cy="307777"/>
          </a:xfrm>
          <a:prstGeom prst="rect">
            <a:avLst/>
          </a:prstGeom>
          <a:solidFill>
            <a:srgbClr val="006699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ДГОТОВКА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ЕЦИАЛИСТОВ БУДУЩЕГО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4AB337E-DE15-4685-B2B3-EAB0A46E6D51}"/>
              </a:ext>
            </a:extLst>
          </p:cNvPr>
          <p:cNvGrpSpPr/>
          <p:nvPr/>
        </p:nvGrpSpPr>
        <p:grpSpPr>
          <a:xfrm>
            <a:off x="656100" y="1699082"/>
            <a:ext cx="396000" cy="396000"/>
            <a:chOff x="656100" y="1632407"/>
            <a:chExt cx="396000" cy="396000"/>
          </a:xfrm>
        </p:grpSpPr>
        <p:sp>
          <p:nvSpPr>
            <p:cNvPr id="6" name="Шестиугольник 5">
              <a:extLst>
                <a:ext uri="{FF2B5EF4-FFF2-40B4-BE49-F238E27FC236}">
                  <a16:creationId xmlns:a16="http://schemas.microsoft.com/office/drawing/2014/main" id="{EE652E08-C8CB-4352-B76D-C9D78645551E}"/>
                </a:ext>
              </a:extLst>
            </p:cNvPr>
            <p:cNvSpPr/>
            <p:nvPr/>
          </p:nvSpPr>
          <p:spPr>
            <a:xfrm rot="5400000">
              <a:off x="656100" y="1632407"/>
              <a:ext cx="396000" cy="396000"/>
            </a:xfrm>
            <a:prstGeom prst="hexagon">
              <a:avLst>
                <a:gd name="adj" fmla="val 19330"/>
                <a:gd name="vf" fmla="val 115470"/>
              </a:avLst>
            </a:prstGeom>
            <a:solidFill>
              <a:srgbClr val="3AB09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41CA019-DDE0-4047-83D4-BE231D561A6A}"/>
                </a:ext>
              </a:extLst>
            </p:cNvPr>
            <p:cNvSpPr txBox="1"/>
            <p:nvPr/>
          </p:nvSpPr>
          <p:spPr>
            <a:xfrm>
              <a:off x="666835" y="1632417"/>
              <a:ext cx="36195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1E28A90B-D545-4B3D-8DCC-D5F10138C228}"/>
              </a:ext>
            </a:extLst>
          </p:cNvPr>
          <p:cNvGrpSpPr/>
          <p:nvPr/>
        </p:nvGrpSpPr>
        <p:grpSpPr>
          <a:xfrm>
            <a:off x="656100" y="3330011"/>
            <a:ext cx="396000" cy="396000"/>
            <a:chOff x="656100" y="1632407"/>
            <a:chExt cx="396000" cy="396000"/>
          </a:xfrm>
        </p:grpSpPr>
        <p:sp>
          <p:nvSpPr>
            <p:cNvPr id="21" name="Шестиугольник 20">
              <a:extLst>
                <a:ext uri="{FF2B5EF4-FFF2-40B4-BE49-F238E27FC236}">
                  <a16:creationId xmlns:a16="http://schemas.microsoft.com/office/drawing/2014/main" id="{C4ADB785-4291-4DDB-84D6-5AADCF439C53}"/>
                </a:ext>
              </a:extLst>
            </p:cNvPr>
            <p:cNvSpPr/>
            <p:nvPr/>
          </p:nvSpPr>
          <p:spPr>
            <a:xfrm rot="5400000">
              <a:off x="656100" y="1632407"/>
              <a:ext cx="396000" cy="396000"/>
            </a:xfrm>
            <a:prstGeom prst="hexagon">
              <a:avLst>
                <a:gd name="adj" fmla="val 19330"/>
                <a:gd name="vf" fmla="val 115470"/>
              </a:avLst>
            </a:prstGeom>
            <a:solidFill>
              <a:srgbClr val="3AB09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DDEA1F4-AF3C-43FB-A9BF-8C85221DD35A}"/>
                </a:ext>
              </a:extLst>
            </p:cNvPr>
            <p:cNvSpPr txBox="1"/>
            <p:nvPr/>
          </p:nvSpPr>
          <p:spPr>
            <a:xfrm>
              <a:off x="680560" y="1645741"/>
              <a:ext cx="36195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E8BA2FA5-968E-430B-9B05-941CE1A8A4E9}"/>
              </a:ext>
            </a:extLst>
          </p:cNvPr>
          <p:cNvGrpSpPr/>
          <p:nvPr/>
        </p:nvGrpSpPr>
        <p:grpSpPr>
          <a:xfrm>
            <a:off x="6450450" y="1699082"/>
            <a:ext cx="396000" cy="396000"/>
            <a:chOff x="656100" y="1632407"/>
            <a:chExt cx="396000" cy="396000"/>
          </a:xfrm>
        </p:grpSpPr>
        <p:sp>
          <p:nvSpPr>
            <p:cNvPr id="24" name="Шестиугольник 23">
              <a:extLst>
                <a:ext uri="{FF2B5EF4-FFF2-40B4-BE49-F238E27FC236}">
                  <a16:creationId xmlns:a16="http://schemas.microsoft.com/office/drawing/2014/main" id="{D9A6C19A-1F0D-48F3-BEE2-E3AB37A0F431}"/>
                </a:ext>
              </a:extLst>
            </p:cNvPr>
            <p:cNvSpPr/>
            <p:nvPr/>
          </p:nvSpPr>
          <p:spPr>
            <a:xfrm rot="5400000">
              <a:off x="656100" y="1632407"/>
              <a:ext cx="396000" cy="396000"/>
            </a:xfrm>
            <a:prstGeom prst="hexagon">
              <a:avLst>
                <a:gd name="adj" fmla="val 19330"/>
                <a:gd name="vf" fmla="val 115470"/>
              </a:avLst>
            </a:prstGeom>
            <a:solidFill>
              <a:srgbClr val="3AB09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7CD5B9E-D410-4C25-B732-DA91B349EB21}"/>
                </a:ext>
              </a:extLst>
            </p:cNvPr>
            <p:cNvSpPr txBox="1"/>
            <p:nvPr/>
          </p:nvSpPr>
          <p:spPr>
            <a:xfrm>
              <a:off x="666750" y="1645741"/>
              <a:ext cx="36195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57065DE7-2733-44DA-B4BB-59264B73887F}"/>
              </a:ext>
            </a:extLst>
          </p:cNvPr>
          <p:cNvGrpSpPr/>
          <p:nvPr/>
        </p:nvGrpSpPr>
        <p:grpSpPr>
          <a:xfrm>
            <a:off x="6461100" y="3330011"/>
            <a:ext cx="396000" cy="396000"/>
            <a:chOff x="656100" y="1632407"/>
            <a:chExt cx="396000" cy="396000"/>
          </a:xfrm>
        </p:grpSpPr>
        <p:sp>
          <p:nvSpPr>
            <p:cNvPr id="27" name="Шестиугольник 26">
              <a:extLst>
                <a:ext uri="{FF2B5EF4-FFF2-40B4-BE49-F238E27FC236}">
                  <a16:creationId xmlns:a16="http://schemas.microsoft.com/office/drawing/2014/main" id="{59171277-8B70-4A93-8BE6-5F745A26041C}"/>
                </a:ext>
              </a:extLst>
            </p:cNvPr>
            <p:cNvSpPr/>
            <p:nvPr/>
          </p:nvSpPr>
          <p:spPr>
            <a:xfrm rot="5400000">
              <a:off x="656100" y="1632407"/>
              <a:ext cx="396000" cy="396000"/>
            </a:xfrm>
            <a:prstGeom prst="hexagon">
              <a:avLst>
                <a:gd name="adj" fmla="val 19330"/>
                <a:gd name="vf" fmla="val 115470"/>
              </a:avLst>
            </a:prstGeom>
            <a:solidFill>
              <a:srgbClr val="3AB09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86EF561-A81B-4B13-B669-64D5F7185E35}"/>
                </a:ext>
              </a:extLst>
            </p:cNvPr>
            <p:cNvSpPr txBox="1"/>
            <p:nvPr/>
          </p:nvSpPr>
          <p:spPr>
            <a:xfrm>
              <a:off x="667200" y="1645741"/>
              <a:ext cx="36195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E894E26-20B3-45CC-B0D3-429B7E9A309A}"/>
              </a:ext>
            </a:extLst>
          </p:cNvPr>
          <p:cNvSpPr txBox="1"/>
          <p:nvPr/>
        </p:nvSpPr>
        <p:spPr>
          <a:xfrm>
            <a:off x="1171013" y="2071805"/>
            <a:ext cx="42100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еспечение работодателей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остребованными</a:t>
            </a: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кадрами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FD2C034-1841-4E6B-B2D4-C5089D41DE83}"/>
              </a:ext>
            </a:extLst>
          </p:cNvPr>
          <p:cNvSpPr txBox="1"/>
          <p:nvPr/>
        </p:nvSpPr>
        <p:spPr>
          <a:xfrm>
            <a:off x="1171014" y="3804470"/>
            <a:ext cx="486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учение в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нлайн</a:t>
            </a: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режиме на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bek.kz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30079B7-2655-4129-8D65-6D5AF860CB14}"/>
              </a:ext>
            </a:extLst>
          </p:cNvPr>
          <p:cNvSpPr txBox="1"/>
          <p:nvPr/>
        </p:nvSpPr>
        <p:spPr>
          <a:xfrm>
            <a:off x="2150955" y="2665648"/>
            <a:ext cx="3491863" cy="307777"/>
          </a:xfrm>
          <a:prstGeom prst="rect">
            <a:avLst/>
          </a:prstGeom>
          <a:solidFill>
            <a:srgbClr val="D6F2EE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ХВАТ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- ежегодно </a:t>
            </a:r>
            <a:r>
              <a:rPr lang="ru-RU" sz="1400" b="1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0</a:t>
            </a:r>
            <a:r>
              <a:rPr lang="ru-RU" sz="1200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ыс. человек 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F005E6A4-DC85-4A19-AFAA-86AA4BC95B75}"/>
              </a:ext>
            </a:extLst>
          </p:cNvPr>
          <p:cNvGrpSpPr/>
          <p:nvPr/>
        </p:nvGrpSpPr>
        <p:grpSpPr>
          <a:xfrm>
            <a:off x="1812438" y="2595532"/>
            <a:ext cx="432000" cy="432000"/>
            <a:chOff x="123825" y="3047630"/>
            <a:chExt cx="432000" cy="432000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B5F173DC-684E-49AE-8BDC-2CDA6E4CD534}"/>
                </a:ext>
              </a:extLst>
            </p:cNvPr>
            <p:cNvSpPr/>
            <p:nvPr/>
          </p:nvSpPr>
          <p:spPr>
            <a:xfrm>
              <a:off x="123825" y="3047630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3AB0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E7FEBC78-6831-4155-86AC-C10691321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08" y="3123113"/>
              <a:ext cx="281034" cy="281034"/>
            </a:xfrm>
            <a:prstGeom prst="rect">
              <a:avLst/>
            </a:prstGeom>
          </p:spPr>
        </p:pic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BA1F533C-674F-4C14-A8DF-D2EFD47EFBE5}"/>
              </a:ext>
            </a:extLst>
          </p:cNvPr>
          <p:cNvSpPr txBox="1"/>
          <p:nvPr/>
        </p:nvSpPr>
        <p:spPr>
          <a:xfrm>
            <a:off x="6962774" y="2062698"/>
            <a:ext cx="42100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учение у работодателя с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ставником</a:t>
            </a: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и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убсидирование</a:t>
            </a: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зарплаты (1 МЗП)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B838C4-334F-4A74-BC07-0FF7E4A3E33B}"/>
              </a:ext>
            </a:extLst>
          </p:cNvPr>
          <p:cNvGrpSpPr/>
          <p:nvPr/>
        </p:nvGrpSpPr>
        <p:grpSpPr>
          <a:xfrm>
            <a:off x="4771166" y="867937"/>
            <a:ext cx="684000" cy="684000"/>
            <a:chOff x="1485900" y="852029"/>
            <a:chExt cx="684000" cy="684000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40AA9554-55F9-4EAE-A077-68C7546320FF}"/>
                </a:ext>
              </a:extLst>
            </p:cNvPr>
            <p:cNvSpPr/>
            <p:nvPr/>
          </p:nvSpPr>
          <p:spPr>
            <a:xfrm>
              <a:off x="1485900" y="852029"/>
              <a:ext cx="684000" cy="68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3AB0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F821502E-14EF-42BE-9545-962BA4C50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9639" y="940299"/>
              <a:ext cx="496522" cy="496522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2FC4152B-F651-428A-85CA-98BADE1D3385}"/>
              </a:ext>
            </a:extLst>
          </p:cNvPr>
          <p:cNvSpPr txBox="1"/>
          <p:nvPr/>
        </p:nvSpPr>
        <p:spPr>
          <a:xfrm>
            <a:off x="8287166" y="2657643"/>
            <a:ext cx="3104733" cy="307777"/>
          </a:xfrm>
          <a:prstGeom prst="rect">
            <a:avLst/>
          </a:prstGeom>
          <a:solidFill>
            <a:srgbClr val="D6F2EE"/>
          </a:solidFill>
        </p:spPr>
        <p:txBody>
          <a:bodyPr wrap="square">
            <a:spAutoFit/>
          </a:bodyPr>
          <a:lstStyle/>
          <a:p>
            <a:pPr marL="180975" indent="0" algn="l"/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ХВАТ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- ежегодно </a:t>
            </a:r>
            <a:r>
              <a:rPr lang="ru-RU" sz="1400" b="1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5</a:t>
            </a:r>
            <a:r>
              <a:rPr lang="ru-RU" sz="1200" dirty="0">
                <a:solidFill>
                  <a:srgbClr val="EC223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ыс. человек</a:t>
            </a: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BCD8DD85-9D79-43D5-A161-AC6AF9BFD2F5}"/>
              </a:ext>
            </a:extLst>
          </p:cNvPr>
          <p:cNvGrpSpPr/>
          <p:nvPr/>
        </p:nvGrpSpPr>
        <p:grpSpPr>
          <a:xfrm>
            <a:off x="7937817" y="2595531"/>
            <a:ext cx="432000" cy="432000"/>
            <a:chOff x="6458292" y="3093706"/>
            <a:chExt cx="432000" cy="432000"/>
          </a:xfrm>
        </p:grpSpPr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id="{28F398F4-09A9-4B31-B5DE-A3BCF1AED58E}"/>
                </a:ext>
              </a:extLst>
            </p:cNvPr>
            <p:cNvSpPr/>
            <p:nvPr/>
          </p:nvSpPr>
          <p:spPr>
            <a:xfrm>
              <a:off x="6458292" y="309370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3AB0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49A2BC11-10F5-4380-866E-24099FD55C4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3892" y="3169423"/>
              <a:ext cx="280800" cy="280800"/>
            </a:xfrm>
            <a:prstGeom prst="rect">
              <a:avLst/>
            </a:prstGeom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50AB5CBA-25D0-440C-A1B4-4EBB9E92E209}"/>
              </a:ext>
            </a:extLst>
          </p:cNvPr>
          <p:cNvGrpSpPr/>
          <p:nvPr/>
        </p:nvGrpSpPr>
        <p:grpSpPr>
          <a:xfrm>
            <a:off x="1851709" y="4276173"/>
            <a:ext cx="432000" cy="432000"/>
            <a:chOff x="4949063" y="4278155"/>
            <a:chExt cx="432000" cy="432000"/>
          </a:xfrm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56BDB540-E051-475F-AA58-FB85A87A2BF0}"/>
                </a:ext>
              </a:extLst>
            </p:cNvPr>
            <p:cNvSpPr/>
            <p:nvPr/>
          </p:nvSpPr>
          <p:spPr>
            <a:xfrm>
              <a:off x="4949063" y="427815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3AB0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3D7E18D4-90C0-4BAE-A889-5D309003A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4546" y="4355267"/>
              <a:ext cx="280800" cy="280800"/>
            </a:xfrm>
            <a:prstGeom prst="rect">
              <a:avLst/>
            </a:prstGeom>
          </p:spPr>
        </p:pic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70F22733-29BA-4726-A32A-D579871EB24F}"/>
              </a:ext>
            </a:extLst>
          </p:cNvPr>
          <p:cNvSpPr txBox="1"/>
          <p:nvPr/>
        </p:nvSpPr>
        <p:spPr>
          <a:xfrm>
            <a:off x="6923482" y="3774811"/>
            <a:ext cx="46482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зработка программ обучения </a:t>
            </a: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 новым профессиям</a:t>
            </a:r>
            <a:r>
              <a:rPr lang="ru-RU" sz="1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с привлечением ведущих IT центров</a:t>
            </a:r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BF27EAFC-5CC5-4B96-9D71-7EC99B730674}"/>
              </a:ext>
            </a:extLst>
          </p:cNvPr>
          <p:cNvGrpSpPr/>
          <p:nvPr/>
        </p:nvGrpSpPr>
        <p:grpSpPr>
          <a:xfrm>
            <a:off x="7460719" y="4276173"/>
            <a:ext cx="432000" cy="432000"/>
            <a:chOff x="4949063" y="4278155"/>
            <a:chExt cx="432000" cy="432000"/>
          </a:xfrm>
        </p:grpSpPr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22D41D81-C839-4511-9CC9-FE75AF6CB04A}"/>
                </a:ext>
              </a:extLst>
            </p:cNvPr>
            <p:cNvSpPr/>
            <p:nvPr/>
          </p:nvSpPr>
          <p:spPr>
            <a:xfrm>
              <a:off x="4949063" y="427815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3AB0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0" name="Рисунок 69">
              <a:extLst>
                <a:ext uri="{FF2B5EF4-FFF2-40B4-BE49-F238E27FC236}">
                  <a16:creationId xmlns:a16="http://schemas.microsoft.com/office/drawing/2014/main" id="{247CEEB6-60A1-4BEA-817A-F1CDE5006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4546" y="4355267"/>
              <a:ext cx="280800" cy="280800"/>
            </a:xfrm>
            <a:prstGeom prst="rect">
              <a:avLst/>
            </a:prstGeom>
          </p:spPr>
        </p:pic>
      </p:grp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29940DB4-1138-4CA4-BEA1-3D8DAA212387}"/>
              </a:ext>
            </a:extLst>
          </p:cNvPr>
          <p:cNvCxnSpPr>
            <a:stCxn id="6" idx="0"/>
            <a:endCxn id="17" idx="2"/>
          </p:cNvCxnSpPr>
          <p:nvPr/>
        </p:nvCxnSpPr>
        <p:spPr>
          <a:xfrm rot="16200000" flipH="1">
            <a:off x="975044" y="1974138"/>
            <a:ext cx="716450" cy="958338"/>
          </a:xfrm>
          <a:prstGeom prst="bentConnector2">
            <a:avLst/>
          </a:prstGeom>
          <a:ln>
            <a:solidFill>
              <a:srgbClr val="3AB0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: уступ 72">
            <a:extLst>
              <a:ext uri="{FF2B5EF4-FFF2-40B4-BE49-F238E27FC236}">
                <a16:creationId xmlns:a16="http://schemas.microsoft.com/office/drawing/2014/main" id="{957F1708-B3AE-4043-9CD5-3DB88B4372EE}"/>
              </a:ext>
            </a:extLst>
          </p:cNvPr>
          <p:cNvCxnSpPr>
            <a:cxnSpLocks/>
            <a:stCxn id="24" idx="0"/>
            <a:endCxn id="53" idx="2"/>
          </p:cNvCxnSpPr>
          <p:nvPr/>
        </p:nvCxnSpPr>
        <p:spPr>
          <a:xfrm rot="16200000" flipH="1">
            <a:off x="6934909" y="1808622"/>
            <a:ext cx="716449" cy="1289367"/>
          </a:xfrm>
          <a:prstGeom prst="bentConnector2">
            <a:avLst/>
          </a:prstGeom>
          <a:ln>
            <a:solidFill>
              <a:srgbClr val="3AB0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: уступ 73">
            <a:extLst>
              <a:ext uri="{FF2B5EF4-FFF2-40B4-BE49-F238E27FC236}">
                <a16:creationId xmlns:a16="http://schemas.microsoft.com/office/drawing/2014/main" id="{9548689B-80B7-459A-A2D5-76C7060D2409}"/>
              </a:ext>
            </a:extLst>
          </p:cNvPr>
          <p:cNvCxnSpPr>
            <a:cxnSpLocks/>
            <a:stCxn id="22" idx="2"/>
            <a:endCxn id="67" idx="2"/>
          </p:cNvCxnSpPr>
          <p:nvPr/>
        </p:nvCxnSpPr>
        <p:spPr>
          <a:xfrm rot="16200000" flipH="1">
            <a:off x="966874" y="3607338"/>
            <a:ext cx="779496" cy="990174"/>
          </a:xfrm>
          <a:prstGeom prst="bentConnector2">
            <a:avLst/>
          </a:prstGeom>
          <a:ln>
            <a:solidFill>
              <a:srgbClr val="3AB0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: уступ 74">
            <a:extLst>
              <a:ext uri="{FF2B5EF4-FFF2-40B4-BE49-F238E27FC236}">
                <a16:creationId xmlns:a16="http://schemas.microsoft.com/office/drawing/2014/main" id="{AEBEC58D-B7E8-4629-9939-43FA72F943B1}"/>
              </a:ext>
            </a:extLst>
          </p:cNvPr>
          <p:cNvCxnSpPr>
            <a:cxnSpLocks/>
            <a:stCxn id="28" idx="2"/>
            <a:endCxn id="69" idx="2"/>
          </p:cNvCxnSpPr>
          <p:nvPr/>
        </p:nvCxnSpPr>
        <p:spPr>
          <a:xfrm rot="16200000" flipH="1">
            <a:off x="6667199" y="3698653"/>
            <a:ext cx="779496" cy="807544"/>
          </a:xfrm>
          <a:prstGeom prst="bentConnector2">
            <a:avLst/>
          </a:prstGeom>
          <a:ln>
            <a:solidFill>
              <a:srgbClr val="3AB0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Номер слайда 1">
            <a:extLst>
              <a:ext uri="{FF2B5EF4-FFF2-40B4-BE49-F238E27FC236}">
                <a16:creationId xmlns:a16="http://schemas.microsoft.com/office/drawing/2014/main" id="{CF5F0E9E-698E-4070-BCBA-A13A78649D3A}"/>
              </a:ext>
            </a:extLst>
          </p:cNvPr>
          <p:cNvSpPr txBox="1">
            <a:spLocks/>
          </p:cNvSpPr>
          <p:nvPr/>
        </p:nvSpPr>
        <p:spPr>
          <a:xfrm>
            <a:off x="11690614" y="6454221"/>
            <a:ext cx="415675" cy="3998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629F11A-CAD2-4FD2-9793-0DC6E98D19B3}" type="slidenum">
              <a:rPr lang="ru-RU" sz="1400" b="1" smtClean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8</a:t>
            </a:fld>
            <a:endParaRPr lang="ru-RU" sz="1400" b="1" dirty="0">
              <a:solidFill>
                <a:srgbClr val="2038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2E1E34C-D8BA-4AE1-A705-14DC4B7840A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628" y="3262471"/>
            <a:ext cx="531079" cy="531079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56BFDDA1-55DA-46D9-A1B5-2B2ABD0778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982" y="1618218"/>
            <a:ext cx="531079" cy="531079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3B48F882-0723-4E7B-AE0D-86CDA7596B6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982" y="3252722"/>
            <a:ext cx="531079" cy="531079"/>
          </a:xfrm>
          <a:prstGeom prst="rect">
            <a:avLst/>
          </a:prstGeom>
        </p:spPr>
      </p:pic>
      <p:sp>
        <p:nvSpPr>
          <p:cNvPr id="60" name="object 7">
            <a:extLst>
              <a:ext uri="{FF2B5EF4-FFF2-40B4-BE49-F238E27FC236}">
                <a16:creationId xmlns:a16="http://schemas.microsoft.com/office/drawing/2014/main" id="{63D59016-EAA6-4C37-ABBF-80000F46AF2C}"/>
              </a:ext>
            </a:extLst>
          </p:cNvPr>
          <p:cNvSpPr txBox="1"/>
          <p:nvPr/>
        </p:nvSpPr>
        <p:spPr>
          <a:xfrm>
            <a:off x="919442" y="5306890"/>
            <a:ext cx="1688997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ru-RU"/>
            </a:defPPr>
            <a:lvl1pPr lvl="0">
              <a:defRPr sz="3600" b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endParaRPr lang="ru-RU" sz="1800" dirty="0">
              <a:solidFill>
                <a:schemeClr val="bg1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  <a:p>
            <a:pPr algn="ctr"/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Результат</a:t>
            </a:r>
          </a:p>
          <a:p>
            <a:pPr algn="ctr"/>
            <a:endParaRPr lang="ru-RU" sz="1800" dirty="0">
              <a:solidFill>
                <a:schemeClr val="bg1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538C032-29C7-41D6-9731-B4DBA5837816}"/>
              </a:ext>
            </a:extLst>
          </p:cNvPr>
          <p:cNvSpPr txBox="1"/>
          <p:nvPr/>
        </p:nvSpPr>
        <p:spPr>
          <a:xfrm>
            <a:off x="3179673" y="5310260"/>
            <a:ext cx="4496929" cy="1056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87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хват до 2025 года </a:t>
            </a:r>
          </a:p>
          <a:p>
            <a:pPr algn="just">
              <a:lnSpc>
                <a:spcPct val="87000"/>
              </a:lnSpc>
            </a:pPr>
            <a:endParaRPr kumimoji="0" lang="ru-RU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87000"/>
              </a:lnSpc>
            </a:pPr>
            <a:r>
              <a:rPr kumimoji="0" lang="ru-RU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ровень трудоустройства </a:t>
            </a:r>
          </a:p>
          <a:p>
            <a:pPr algn="just">
              <a:lnSpc>
                <a:spcPct val="87000"/>
              </a:lnSpc>
            </a:pPr>
            <a:r>
              <a:rPr kumimoji="0" lang="ru-RU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сле профессионального обучения</a:t>
            </a:r>
          </a:p>
        </p:txBody>
      </p:sp>
      <p:sp>
        <p:nvSpPr>
          <p:cNvPr id="62" name="ee4pContent1">
            <a:extLst>
              <a:ext uri="{FF2B5EF4-FFF2-40B4-BE49-F238E27FC236}">
                <a16:creationId xmlns:a16="http://schemas.microsoft.com/office/drawing/2014/main" id="{910F6770-D61B-4DBE-9663-A742089243C5}"/>
              </a:ext>
            </a:extLst>
          </p:cNvPr>
          <p:cNvSpPr txBox="1"/>
          <p:nvPr/>
        </p:nvSpPr>
        <p:spPr>
          <a:xfrm>
            <a:off x="8302724" y="5782488"/>
            <a:ext cx="2043829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4545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2400" b="1" dirty="0">
                <a:solidFill>
                  <a:srgbClr val="006D5C"/>
                </a:solidFill>
                <a:latin typeface="Arial" panose="020B0604020202020204" pitchFamily="34" charset="0"/>
              </a:rPr>
              <a:t>с 52% до 80%</a:t>
            </a:r>
            <a:endParaRPr lang="en-US" sz="2400" b="1" dirty="0">
              <a:solidFill>
                <a:srgbClr val="006D5C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189361" y="5260016"/>
            <a:ext cx="2281778" cy="4136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87000"/>
              </a:lnSpc>
            </a:pPr>
            <a:r>
              <a:rPr lang="ru-RU" sz="2400" b="1" dirty="0">
                <a:solidFill>
                  <a:srgbClr val="006D5C"/>
                </a:solidFill>
                <a:latin typeface="Arial" panose="020B0604020202020204" pitchFamily="34" charset="0"/>
                <a:cs typeface="Arial" pitchFamily="34" charset="0"/>
              </a:rPr>
              <a:t>210 </a:t>
            </a:r>
            <a:r>
              <a:rPr lang="ru-RU" b="1" dirty="0">
                <a:solidFill>
                  <a:srgbClr val="006D5C"/>
                </a:solidFill>
                <a:latin typeface="Arial" panose="020B0604020202020204" pitchFamily="34" charset="0"/>
                <a:cs typeface="Arial" pitchFamily="34" charset="0"/>
              </a:rPr>
              <a:t>тыс. </a:t>
            </a:r>
            <a:r>
              <a:rPr lang="ru-RU" dirty="0">
                <a:solidFill>
                  <a:srgbClr val="006D5C"/>
                </a:solidFill>
                <a:latin typeface="Arial" panose="020B0604020202020204" pitchFamily="34" charset="0"/>
                <a:cs typeface="Arial" pitchFamily="34" charset="0"/>
              </a:rPr>
              <a:t>человек </a:t>
            </a:r>
            <a:endParaRPr lang="ru-RU" sz="2400" dirty="0">
              <a:solidFill>
                <a:srgbClr val="006D5C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6267EF90-2DCD-4840-A91C-9D8B522053D2}"/>
              </a:ext>
            </a:extLst>
          </p:cNvPr>
          <p:cNvCxnSpPr>
            <a:cxnSpLocks/>
          </p:cNvCxnSpPr>
          <p:nvPr/>
        </p:nvCxnSpPr>
        <p:spPr>
          <a:xfrm>
            <a:off x="463293" y="5029200"/>
            <a:ext cx="11336654" cy="0"/>
          </a:xfrm>
          <a:prstGeom prst="line">
            <a:avLst/>
          </a:prstGeom>
          <a:ln>
            <a:solidFill>
              <a:srgbClr val="00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15931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e4pHeader3"/>
          <p:cNvSpPr txBox="1"/>
          <p:nvPr/>
        </p:nvSpPr>
        <p:spPr>
          <a:xfrm>
            <a:off x="1309042" y="999180"/>
            <a:ext cx="5199582" cy="4259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2000" b="1" dirty="0">
                <a:solidFill>
                  <a:srgbClr val="00669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сновные проблемы</a:t>
            </a:r>
          </a:p>
        </p:txBody>
      </p:sp>
      <p:sp>
        <p:nvSpPr>
          <p:cNvPr id="24" name="ee4pHeader2"/>
          <p:cNvSpPr txBox="1"/>
          <p:nvPr/>
        </p:nvSpPr>
        <p:spPr>
          <a:xfrm>
            <a:off x="3660785" y="1115052"/>
            <a:ext cx="2236672" cy="4343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endParaRPr lang="ru-RU" dirty="0">
              <a:solidFill>
                <a:srgbClr val="295E7E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Straight Connector 63"/>
          <p:cNvCxnSpPr>
            <a:cxnSpLocks/>
            <a:endCxn id="105" idx="4"/>
          </p:cNvCxnSpPr>
          <p:nvPr/>
        </p:nvCxnSpPr>
        <p:spPr>
          <a:xfrm>
            <a:off x="6135515" y="1875722"/>
            <a:ext cx="37505" cy="2132254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/>
          <p:cNvGrpSpPr/>
          <p:nvPr/>
        </p:nvGrpSpPr>
        <p:grpSpPr>
          <a:xfrm>
            <a:off x="6019545" y="1691690"/>
            <a:ext cx="282075" cy="259040"/>
            <a:chOff x="4843364" y="3319364"/>
            <a:chExt cx="219273" cy="219273"/>
          </a:xfrm>
        </p:grpSpPr>
        <p:sp>
          <p:nvSpPr>
            <p:cNvPr id="73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Прямоугольник 10"/>
          <p:cNvSpPr/>
          <p:nvPr/>
        </p:nvSpPr>
        <p:spPr>
          <a:xfrm>
            <a:off x="494705" y="1831044"/>
            <a:ext cx="5354018" cy="2180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зрозненный и несистемный подход к способам признания квалификации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6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тсутствует контроль по качеству проведения сертификации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6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едостаточность мер стимулирования к развитию системы признания квалификаци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503828" y="1544089"/>
            <a:ext cx="5092202" cy="2872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конодательное закрепление всех используемых способов признания квалификации</a:t>
            </a: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endParaRPr lang="ru-RU" sz="1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Национального органа по квалификациям</a:t>
            </a: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endParaRPr lang="ru-RU" sz="1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Внедрение Атласа в сфере образования </a:t>
            </a: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endParaRPr lang="ru-RU" altLang="ru-RU" sz="1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lvl="0" algn="just" fontAlgn="base">
              <a:lnSpc>
                <a:spcPct val="107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пределение мер стимулирования для  </a:t>
            </a: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хождения в систему признания квалификации (гранты, ваучеры и т.д.)</a:t>
            </a:r>
          </a:p>
        </p:txBody>
      </p:sp>
      <p:sp>
        <p:nvSpPr>
          <p:cNvPr id="96" name="ee4pHeader3"/>
          <p:cNvSpPr txBox="1"/>
          <p:nvPr/>
        </p:nvSpPr>
        <p:spPr>
          <a:xfrm>
            <a:off x="4947576" y="4403826"/>
            <a:ext cx="2980272" cy="4259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2000" b="1" dirty="0">
                <a:solidFill>
                  <a:srgbClr val="00669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жидаемый результат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91879" y="4965064"/>
            <a:ext cx="11019482" cy="1291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стематизация всех элементов Национальной системы квалификаций, что, в свою очередь, позволит создать правовую базу, а также унифицировать регулирование системы признания квалификации.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тлас позволит определить будущие тренды рынка труда в соответствующих отраслях и результаты которого нашли свое отображение в сфере обучения.</a:t>
            </a:r>
          </a:p>
        </p:txBody>
      </p:sp>
      <p:grpSp>
        <p:nvGrpSpPr>
          <p:cNvPr id="98" name="Group 71"/>
          <p:cNvGrpSpPr/>
          <p:nvPr/>
        </p:nvGrpSpPr>
        <p:grpSpPr>
          <a:xfrm>
            <a:off x="6030981" y="3028364"/>
            <a:ext cx="282075" cy="259040"/>
            <a:chOff x="4843364" y="3319364"/>
            <a:chExt cx="219273" cy="219273"/>
          </a:xfrm>
        </p:grpSpPr>
        <p:sp>
          <p:nvSpPr>
            <p:cNvPr id="99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71"/>
          <p:cNvGrpSpPr/>
          <p:nvPr/>
        </p:nvGrpSpPr>
        <p:grpSpPr>
          <a:xfrm>
            <a:off x="6021573" y="2361200"/>
            <a:ext cx="282075" cy="259040"/>
            <a:chOff x="4843364" y="3319364"/>
            <a:chExt cx="219273" cy="219273"/>
          </a:xfrm>
        </p:grpSpPr>
        <p:sp>
          <p:nvSpPr>
            <p:cNvPr id="102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4" name="Group 71"/>
          <p:cNvGrpSpPr/>
          <p:nvPr/>
        </p:nvGrpSpPr>
        <p:grpSpPr>
          <a:xfrm>
            <a:off x="6031982" y="3748936"/>
            <a:ext cx="282075" cy="259040"/>
            <a:chOff x="4843364" y="3319364"/>
            <a:chExt cx="219273" cy="219273"/>
          </a:xfrm>
        </p:grpSpPr>
        <p:sp>
          <p:nvSpPr>
            <p:cNvPr id="105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7547367" y="1060468"/>
            <a:ext cx="10935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3"/>
            <a:r>
              <a:rPr lang="ru-RU" sz="2000" b="1" dirty="0">
                <a:solidFill>
                  <a:srgbClr val="00669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дачи</a:t>
            </a:r>
          </a:p>
        </p:txBody>
      </p:sp>
      <p:grpSp>
        <p:nvGrpSpPr>
          <p:cNvPr id="110" name="Google Shape;210;p7"/>
          <p:cNvGrpSpPr/>
          <p:nvPr/>
        </p:nvGrpSpPr>
        <p:grpSpPr>
          <a:xfrm>
            <a:off x="733639" y="1066949"/>
            <a:ext cx="365533" cy="448252"/>
            <a:chOff x="5075497" y="4934337"/>
            <a:chExt cx="764351" cy="952500"/>
          </a:xfrm>
          <a:solidFill>
            <a:schemeClr val="bg1"/>
          </a:solidFill>
        </p:grpSpPr>
        <p:sp>
          <p:nvSpPr>
            <p:cNvPr id="111" name="Google Shape;211;p7"/>
            <p:cNvSpPr/>
            <p:nvPr/>
          </p:nvSpPr>
          <p:spPr>
            <a:xfrm>
              <a:off x="5310825" y="5430427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13"/>
                    <a:pt x="0" y="19850"/>
                  </a:cubicBezTo>
                  <a:cubicBezTo>
                    <a:pt x="0" y="888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87"/>
                    <a:pt x="563468" y="19850"/>
                  </a:cubicBezTo>
                  <a:cubicBezTo>
                    <a:pt x="563468" y="30813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2" name="Google Shape;212;p7"/>
            <p:cNvSpPr/>
            <p:nvPr/>
          </p:nvSpPr>
          <p:spPr>
            <a:xfrm>
              <a:off x="5310825" y="5589180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3" name="Google Shape;213;p7"/>
            <p:cNvSpPr/>
            <p:nvPr/>
          </p:nvSpPr>
          <p:spPr>
            <a:xfrm>
              <a:off x="5310825" y="5747933"/>
              <a:ext cx="450774" cy="39681"/>
            </a:xfrm>
            <a:custGeom>
              <a:avLst/>
              <a:gdLst/>
              <a:ahLst/>
              <a:cxnLst/>
              <a:rect l="l" t="t" r="r" b="b"/>
              <a:pathLst>
                <a:path w="563468" h="39681" extrusionOk="0">
                  <a:moveTo>
                    <a:pt x="538962" y="39681"/>
                  </a:moveTo>
                  <a:lnTo>
                    <a:pt x="24495" y="39681"/>
                  </a:lnTo>
                  <a:cubicBezTo>
                    <a:pt x="10960" y="3968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81"/>
                    <a:pt x="538962" y="3968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4" name="Google Shape;214;p7"/>
            <p:cNvSpPr/>
            <p:nvPr/>
          </p:nvSpPr>
          <p:spPr>
            <a:xfrm>
              <a:off x="5153936" y="5351055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5" name="Google Shape;215;p7"/>
            <p:cNvSpPr/>
            <p:nvPr/>
          </p:nvSpPr>
          <p:spPr>
            <a:xfrm>
              <a:off x="5153936" y="5509808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6" name="Google Shape;216;p7"/>
            <p:cNvSpPr/>
            <p:nvPr/>
          </p:nvSpPr>
          <p:spPr>
            <a:xfrm>
              <a:off x="5153936" y="5668552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81"/>
                  </a:moveTo>
                  <a:lnTo>
                    <a:pt x="98002" y="79381"/>
                  </a:lnTo>
                  <a:lnTo>
                    <a:pt x="98002" y="39691"/>
                  </a:lnTo>
                  <a:lnTo>
                    <a:pt x="49001" y="39691"/>
                  </a:lnTo>
                  <a:lnTo>
                    <a:pt x="49001" y="79381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7" name="Google Shape;217;p7"/>
            <p:cNvSpPr/>
            <p:nvPr/>
          </p:nvSpPr>
          <p:spPr>
            <a:xfrm>
              <a:off x="5350050" y="5083165"/>
              <a:ext cx="215580" cy="119062"/>
            </a:xfrm>
            <a:custGeom>
              <a:avLst/>
              <a:gdLst/>
              <a:ahLst/>
              <a:cxnLst/>
              <a:rect l="l" t="t" r="r" b="b"/>
              <a:pathLst>
                <a:path w="269475" h="119062" extrusionOk="0">
                  <a:moveTo>
                    <a:pt x="269475" y="59531"/>
                  </a:moveTo>
                  <a:lnTo>
                    <a:pt x="195980" y="0"/>
                  </a:lnTo>
                  <a:lnTo>
                    <a:pt x="195980" y="39691"/>
                  </a:lnTo>
                  <a:lnTo>
                    <a:pt x="73495" y="39691"/>
                  </a:lnTo>
                  <a:lnTo>
                    <a:pt x="73495" y="0"/>
                  </a:lnTo>
                  <a:lnTo>
                    <a:pt x="0" y="59531"/>
                  </a:lnTo>
                  <a:lnTo>
                    <a:pt x="73495" y="119063"/>
                  </a:lnTo>
                  <a:lnTo>
                    <a:pt x="73495" y="79372"/>
                  </a:lnTo>
                  <a:lnTo>
                    <a:pt x="195980" y="79372"/>
                  </a:lnTo>
                  <a:lnTo>
                    <a:pt x="195980" y="119063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8" name="Google Shape;218;p7"/>
            <p:cNvSpPr/>
            <p:nvPr/>
          </p:nvSpPr>
          <p:spPr>
            <a:xfrm>
              <a:off x="5193161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9" name="Google Shape;219;p7"/>
            <p:cNvSpPr/>
            <p:nvPr/>
          </p:nvSpPr>
          <p:spPr>
            <a:xfrm>
              <a:off x="5153946" y="5152611"/>
              <a:ext cx="195984" cy="99260"/>
            </a:xfrm>
            <a:custGeom>
              <a:avLst/>
              <a:gdLst/>
              <a:ahLst/>
              <a:cxnLst/>
              <a:rect l="l" t="t" r="r" b="b"/>
              <a:pathLst>
                <a:path w="244980" h="99260" extrusionOk="0">
                  <a:moveTo>
                    <a:pt x="244981" y="99260"/>
                  </a:moveTo>
                  <a:cubicBezTo>
                    <a:pt x="244981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81" y="99260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0" name="Google Shape;220;p7"/>
            <p:cNvSpPr/>
            <p:nvPr/>
          </p:nvSpPr>
          <p:spPr>
            <a:xfrm>
              <a:off x="5604986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1" name="Google Shape;221;p7"/>
            <p:cNvSpPr/>
            <p:nvPr/>
          </p:nvSpPr>
          <p:spPr>
            <a:xfrm>
              <a:off x="5565761" y="5152611"/>
              <a:ext cx="195994" cy="99260"/>
            </a:xfrm>
            <a:custGeom>
              <a:avLst/>
              <a:gdLst/>
              <a:ahLst/>
              <a:cxnLst/>
              <a:rect l="l" t="t" r="r" b="b"/>
              <a:pathLst>
                <a:path w="244992" h="99260" extrusionOk="0">
                  <a:moveTo>
                    <a:pt x="244992" y="99260"/>
                  </a:moveTo>
                  <a:cubicBezTo>
                    <a:pt x="244992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92" y="99260"/>
                  </a:ln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2" name="Google Shape;222;p7"/>
            <p:cNvSpPr/>
            <p:nvPr/>
          </p:nvSpPr>
          <p:spPr>
            <a:xfrm>
              <a:off x="5075497" y="4934337"/>
              <a:ext cx="764351" cy="952500"/>
            </a:xfrm>
            <a:custGeom>
              <a:avLst/>
              <a:gdLst/>
              <a:ahLst/>
              <a:cxnLst/>
              <a:rect l="l" t="t" r="r" b="b"/>
              <a:pathLst>
                <a:path w="955439" h="952500" extrusionOk="0">
                  <a:moveTo>
                    <a:pt x="881944" y="0"/>
                  </a:moveTo>
                  <a:lnTo>
                    <a:pt x="73495" y="0"/>
                  </a:lnTo>
                  <a:cubicBezTo>
                    <a:pt x="32973" y="0"/>
                    <a:pt x="0" y="26708"/>
                    <a:pt x="0" y="59531"/>
                  </a:cubicBezTo>
                  <a:lnTo>
                    <a:pt x="0" y="892969"/>
                  </a:lnTo>
                  <a:cubicBezTo>
                    <a:pt x="0" y="925792"/>
                    <a:pt x="32973" y="952500"/>
                    <a:pt x="73495" y="952500"/>
                  </a:cubicBezTo>
                  <a:lnTo>
                    <a:pt x="881944" y="952500"/>
                  </a:lnTo>
                  <a:cubicBezTo>
                    <a:pt x="922467" y="952500"/>
                    <a:pt x="955440" y="925792"/>
                    <a:pt x="955440" y="892969"/>
                  </a:cubicBezTo>
                  <a:lnTo>
                    <a:pt x="955440" y="59531"/>
                  </a:lnTo>
                  <a:cubicBezTo>
                    <a:pt x="955440" y="26708"/>
                    <a:pt x="922467" y="0"/>
                    <a:pt x="881944" y="0"/>
                  </a:cubicBezTo>
                  <a:close/>
                  <a:moveTo>
                    <a:pt x="881944" y="912809"/>
                  </a:moveTo>
                  <a:lnTo>
                    <a:pt x="73495" y="912809"/>
                  </a:lnTo>
                  <a:cubicBezTo>
                    <a:pt x="59984" y="912809"/>
                    <a:pt x="49001" y="903923"/>
                    <a:pt x="49001" y="892969"/>
                  </a:cubicBezTo>
                  <a:lnTo>
                    <a:pt x="49001" y="59531"/>
                  </a:lnTo>
                  <a:cubicBezTo>
                    <a:pt x="49001" y="48587"/>
                    <a:pt x="59984" y="39691"/>
                    <a:pt x="73495" y="39691"/>
                  </a:cubicBezTo>
                  <a:lnTo>
                    <a:pt x="881944" y="39691"/>
                  </a:lnTo>
                  <a:cubicBezTo>
                    <a:pt x="895468" y="39691"/>
                    <a:pt x="906439" y="48587"/>
                    <a:pt x="906439" y="59531"/>
                  </a:cubicBezTo>
                  <a:lnTo>
                    <a:pt x="906439" y="892969"/>
                  </a:lnTo>
                  <a:cubicBezTo>
                    <a:pt x="906439" y="903923"/>
                    <a:pt x="895468" y="912809"/>
                    <a:pt x="881944" y="912809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140" name="Google Shape;153;p7"/>
          <p:cNvGrpSpPr/>
          <p:nvPr/>
        </p:nvGrpSpPr>
        <p:grpSpPr>
          <a:xfrm>
            <a:off x="4368473" y="4468835"/>
            <a:ext cx="408203" cy="416365"/>
            <a:chOff x="5075497" y="3952825"/>
            <a:chExt cx="773345" cy="829836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41" name="Google Shape;154;p7"/>
            <p:cNvSpPr/>
            <p:nvPr/>
          </p:nvSpPr>
          <p:spPr>
            <a:xfrm>
              <a:off x="5101681" y="4345855"/>
              <a:ext cx="747161" cy="436806"/>
            </a:xfrm>
            <a:custGeom>
              <a:avLst/>
              <a:gdLst/>
              <a:ahLst/>
              <a:cxnLst/>
              <a:rect l="l" t="t" r="r" b="b"/>
              <a:pathLst>
                <a:path w="747160" h="485529" extrusionOk="0">
                  <a:moveTo>
                    <a:pt x="737273" y="2848"/>
                  </a:moveTo>
                  <a:cubicBezTo>
                    <a:pt x="731149" y="-902"/>
                    <a:pt x="723595" y="-973"/>
                    <a:pt x="717471" y="2777"/>
                  </a:cubicBezTo>
                  <a:lnTo>
                    <a:pt x="578568" y="87225"/>
                  </a:lnTo>
                  <a:cubicBezTo>
                    <a:pt x="572395" y="90974"/>
                    <a:pt x="568566" y="97986"/>
                    <a:pt x="568566" y="105555"/>
                  </a:cubicBezTo>
                  <a:cubicBezTo>
                    <a:pt x="568566" y="113115"/>
                    <a:pt x="572386" y="120127"/>
                    <a:pt x="578568" y="123876"/>
                  </a:cubicBezTo>
                  <a:lnTo>
                    <a:pt x="613258" y="144973"/>
                  </a:lnTo>
                  <a:lnTo>
                    <a:pt x="538458" y="258624"/>
                  </a:lnTo>
                  <a:lnTo>
                    <a:pt x="451675" y="197087"/>
                  </a:lnTo>
                  <a:cubicBezTo>
                    <a:pt x="442655" y="190673"/>
                    <a:pt x="431502" y="188443"/>
                    <a:pt x="420957" y="191027"/>
                  </a:cubicBezTo>
                  <a:cubicBezTo>
                    <a:pt x="410366" y="193560"/>
                    <a:pt x="401212" y="200593"/>
                    <a:pt x="395630" y="210493"/>
                  </a:cubicBezTo>
                  <a:lnTo>
                    <a:pt x="306934" y="367767"/>
                  </a:lnTo>
                  <a:lnTo>
                    <a:pt x="163744" y="164661"/>
                  </a:lnTo>
                  <a:cubicBezTo>
                    <a:pt x="155638" y="153160"/>
                    <a:pt x="142570" y="147040"/>
                    <a:pt x="129159" y="147881"/>
                  </a:cubicBezTo>
                  <a:cubicBezTo>
                    <a:pt x="115691" y="148935"/>
                    <a:pt x="103632" y="157183"/>
                    <a:pt x="97165" y="169778"/>
                  </a:cubicBezTo>
                  <a:lnTo>
                    <a:pt x="0" y="359265"/>
                  </a:lnTo>
                  <a:cubicBezTo>
                    <a:pt x="28527" y="360157"/>
                    <a:pt x="55921" y="366348"/>
                    <a:pt x="81210" y="377231"/>
                  </a:cubicBezTo>
                  <a:lnTo>
                    <a:pt x="137303" y="267855"/>
                  </a:lnTo>
                  <a:lnTo>
                    <a:pt x="278854" y="468651"/>
                  </a:lnTo>
                  <a:cubicBezTo>
                    <a:pt x="286779" y="479888"/>
                    <a:pt x="298990" y="486211"/>
                    <a:pt x="312649" y="485471"/>
                  </a:cubicBezTo>
                  <a:cubicBezTo>
                    <a:pt x="325831" y="484752"/>
                    <a:pt x="337833" y="477081"/>
                    <a:pt x="344624" y="465043"/>
                  </a:cubicBezTo>
                  <a:lnTo>
                    <a:pt x="442265" y="291891"/>
                  </a:lnTo>
                  <a:lnTo>
                    <a:pt x="526704" y="351787"/>
                  </a:lnTo>
                  <a:cubicBezTo>
                    <a:pt x="544687" y="364544"/>
                    <a:pt x="568871" y="359660"/>
                    <a:pt x="581244" y="340864"/>
                  </a:cubicBezTo>
                  <a:lnTo>
                    <a:pt x="682457" y="187025"/>
                  </a:lnTo>
                  <a:lnTo>
                    <a:pt x="717471" y="208314"/>
                  </a:lnTo>
                  <a:cubicBezTo>
                    <a:pt x="720519" y="210168"/>
                    <a:pt x="723938" y="211101"/>
                    <a:pt x="727319" y="211101"/>
                  </a:cubicBezTo>
                  <a:cubicBezTo>
                    <a:pt x="730758" y="211101"/>
                    <a:pt x="734197" y="210148"/>
                    <a:pt x="737273" y="208253"/>
                  </a:cubicBezTo>
                  <a:cubicBezTo>
                    <a:pt x="743398" y="204474"/>
                    <a:pt x="747160" y="197522"/>
                    <a:pt x="747160" y="189994"/>
                  </a:cubicBezTo>
                  <a:lnTo>
                    <a:pt x="747160" y="21117"/>
                  </a:lnTo>
                  <a:cubicBezTo>
                    <a:pt x="747160" y="13578"/>
                    <a:pt x="743398" y="6647"/>
                    <a:pt x="737273" y="2848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42" name="Google Shape;155;p7"/>
            <p:cNvGrpSpPr/>
            <p:nvPr/>
          </p:nvGrpSpPr>
          <p:grpSpPr>
            <a:xfrm>
              <a:off x="5075497" y="3952825"/>
              <a:ext cx="436559" cy="548862"/>
              <a:chOff x="5075497" y="3952825"/>
              <a:chExt cx="436559" cy="548862"/>
            </a:xfrm>
            <a:grpFill/>
          </p:grpSpPr>
          <p:sp>
            <p:nvSpPr>
              <p:cNvPr id="143" name="Google Shape;156;p7"/>
              <p:cNvSpPr/>
              <p:nvPr/>
            </p:nvSpPr>
            <p:spPr>
              <a:xfrm>
                <a:off x="5214400" y="4100595"/>
                <a:ext cx="119062" cy="126662"/>
              </a:xfrm>
              <a:custGeom>
                <a:avLst/>
                <a:gdLst/>
                <a:ahLst/>
                <a:cxnLst/>
                <a:rect l="l" t="t" r="r" b="b"/>
                <a:pathLst>
                  <a:path w="119062" h="126662" extrusionOk="0">
                    <a:moveTo>
                      <a:pt x="59531" y="0"/>
                    </a:moveTo>
                    <a:cubicBezTo>
                      <a:pt x="26708" y="0"/>
                      <a:pt x="0" y="28413"/>
                      <a:pt x="0" y="63331"/>
                    </a:cubicBezTo>
                    <a:cubicBezTo>
                      <a:pt x="0" y="98249"/>
                      <a:pt x="26708" y="126662"/>
                      <a:pt x="59531" y="126662"/>
                    </a:cubicBezTo>
                    <a:cubicBezTo>
                      <a:pt x="92364" y="126662"/>
                      <a:pt x="119063" y="98249"/>
                      <a:pt x="119063" y="63331"/>
                    </a:cubicBezTo>
                    <a:cubicBezTo>
                      <a:pt x="119063" y="28413"/>
                      <a:pt x="92364" y="0"/>
                      <a:pt x="59531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44" name="Google Shape;157;p7"/>
              <p:cNvSpPr/>
              <p:nvPr/>
            </p:nvSpPr>
            <p:spPr>
              <a:xfrm>
                <a:off x="5075497" y="3952825"/>
                <a:ext cx="436559" cy="548862"/>
              </a:xfrm>
              <a:custGeom>
                <a:avLst/>
                <a:gdLst/>
                <a:ahLst/>
                <a:cxnLst/>
                <a:rect l="l" t="t" r="r" b="b"/>
                <a:pathLst>
                  <a:path w="436559" h="548862" extrusionOk="0">
                    <a:moveTo>
                      <a:pt x="435016" y="308488"/>
                    </a:moveTo>
                    <a:cubicBezTo>
                      <a:pt x="435016" y="308438"/>
                      <a:pt x="434988" y="308438"/>
                      <a:pt x="434978" y="308377"/>
                    </a:cubicBezTo>
                    <a:lnTo>
                      <a:pt x="396669" y="206449"/>
                    </a:lnTo>
                    <a:cubicBezTo>
                      <a:pt x="394297" y="92220"/>
                      <a:pt x="306381" y="0"/>
                      <a:pt x="198434" y="0"/>
                    </a:cubicBezTo>
                    <a:cubicBezTo>
                      <a:pt x="89030" y="10"/>
                      <a:pt x="0" y="94723"/>
                      <a:pt x="0" y="211131"/>
                    </a:cubicBezTo>
                    <a:cubicBezTo>
                      <a:pt x="0" y="270024"/>
                      <a:pt x="22841" y="323283"/>
                      <a:pt x="59531" y="361626"/>
                    </a:cubicBezTo>
                    <a:lnTo>
                      <a:pt x="59531" y="548863"/>
                    </a:lnTo>
                    <a:lnTo>
                      <a:pt x="297656" y="548863"/>
                    </a:lnTo>
                    <a:lnTo>
                      <a:pt x="297656" y="464425"/>
                    </a:lnTo>
                    <a:cubicBezTo>
                      <a:pt x="352358" y="464425"/>
                      <a:pt x="377028" y="438170"/>
                      <a:pt x="377028" y="379987"/>
                    </a:cubicBezTo>
                    <a:lnTo>
                      <a:pt x="377028" y="337763"/>
                    </a:lnTo>
                    <a:lnTo>
                      <a:pt x="416719" y="337763"/>
                    </a:lnTo>
                    <a:cubicBezTo>
                      <a:pt x="427682" y="337763"/>
                      <a:pt x="436559" y="328319"/>
                      <a:pt x="436559" y="316656"/>
                    </a:cubicBezTo>
                    <a:cubicBezTo>
                      <a:pt x="436559" y="314062"/>
                      <a:pt x="435016" y="308488"/>
                      <a:pt x="435016" y="308488"/>
                    </a:cubicBezTo>
                    <a:close/>
                    <a:moveTo>
                      <a:pt x="317497" y="232207"/>
                    </a:moveTo>
                    <a:lnTo>
                      <a:pt x="295637" y="232207"/>
                    </a:lnTo>
                    <a:cubicBezTo>
                      <a:pt x="293075" y="245654"/>
                      <a:pt x="288017" y="258158"/>
                      <a:pt x="281121" y="269213"/>
                    </a:cubicBezTo>
                    <a:lnTo>
                      <a:pt x="300057" y="289357"/>
                    </a:lnTo>
                    <a:lnTo>
                      <a:pt x="272005" y="319199"/>
                    </a:lnTo>
                    <a:lnTo>
                      <a:pt x="253070" y="299055"/>
                    </a:lnTo>
                    <a:cubicBezTo>
                      <a:pt x="242659" y="306401"/>
                      <a:pt x="230924" y="311761"/>
                      <a:pt x="218294" y="314528"/>
                    </a:cubicBezTo>
                    <a:lnTo>
                      <a:pt x="218294" y="337752"/>
                    </a:lnTo>
                    <a:lnTo>
                      <a:pt x="178594" y="337752"/>
                    </a:lnTo>
                    <a:lnTo>
                      <a:pt x="178594" y="314528"/>
                    </a:lnTo>
                    <a:cubicBezTo>
                      <a:pt x="165964" y="311761"/>
                      <a:pt x="154210" y="306391"/>
                      <a:pt x="143818" y="299055"/>
                    </a:cubicBezTo>
                    <a:lnTo>
                      <a:pt x="124882" y="319199"/>
                    </a:lnTo>
                    <a:lnTo>
                      <a:pt x="96822" y="289357"/>
                    </a:lnTo>
                    <a:lnTo>
                      <a:pt x="115757" y="269213"/>
                    </a:lnTo>
                    <a:cubicBezTo>
                      <a:pt x="108861" y="258148"/>
                      <a:pt x="103794" y="245654"/>
                      <a:pt x="101241" y="232207"/>
                    </a:cubicBezTo>
                    <a:lnTo>
                      <a:pt x="79372" y="232207"/>
                    </a:lnTo>
                    <a:lnTo>
                      <a:pt x="79372" y="189993"/>
                    </a:lnTo>
                    <a:lnTo>
                      <a:pt x="101232" y="189993"/>
                    </a:lnTo>
                    <a:cubicBezTo>
                      <a:pt x="103794" y="176557"/>
                      <a:pt x="108861" y="164053"/>
                      <a:pt x="115748" y="152998"/>
                    </a:cubicBezTo>
                    <a:lnTo>
                      <a:pt x="98127" y="134242"/>
                    </a:lnTo>
                    <a:lnTo>
                      <a:pt x="126187" y="104400"/>
                    </a:lnTo>
                    <a:lnTo>
                      <a:pt x="143808" y="123146"/>
                    </a:lnTo>
                    <a:cubicBezTo>
                      <a:pt x="154210" y="115800"/>
                      <a:pt x="165954" y="110439"/>
                      <a:pt x="178584" y="107673"/>
                    </a:cubicBezTo>
                    <a:lnTo>
                      <a:pt x="178584" y="84448"/>
                    </a:lnTo>
                    <a:lnTo>
                      <a:pt x="218275" y="84448"/>
                    </a:lnTo>
                    <a:lnTo>
                      <a:pt x="218275" y="107673"/>
                    </a:lnTo>
                    <a:cubicBezTo>
                      <a:pt x="230905" y="110439"/>
                      <a:pt x="242649" y="115810"/>
                      <a:pt x="253051" y="123146"/>
                    </a:cubicBezTo>
                    <a:lnTo>
                      <a:pt x="270672" y="104400"/>
                    </a:lnTo>
                    <a:lnTo>
                      <a:pt x="298733" y="134242"/>
                    </a:lnTo>
                    <a:lnTo>
                      <a:pt x="281102" y="152998"/>
                    </a:lnTo>
                    <a:cubicBezTo>
                      <a:pt x="288007" y="164063"/>
                      <a:pt x="293065" y="176557"/>
                      <a:pt x="295618" y="189993"/>
                    </a:cubicBezTo>
                    <a:lnTo>
                      <a:pt x="317478" y="189993"/>
                    </a:lnTo>
                    <a:lnTo>
                      <a:pt x="317478" y="23220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</p:grpSp>
      <p:grpSp>
        <p:nvGrpSpPr>
          <p:cNvPr id="147" name="Group 137"/>
          <p:cNvGrpSpPr>
            <a:grpSpLocks/>
          </p:cNvGrpSpPr>
          <p:nvPr/>
        </p:nvGrpSpPr>
        <p:grpSpPr bwMode="auto">
          <a:xfrm>
            <a:off x="6759927" y="1103673"/>
            <a:ext cx="395287" cy="371475"/>
            <a:chOff x="2540138" y="3931714"/>
            <a:chExt cx="428625" cy="466725"/>
          </a:xfrm>
        </p:grpSpPr>
        <p:sp>
          <p:nvSpPr>
            <p:cNvPr id="148" name="Freeform: Shape 138"/>
            <p:cNvSpPr>
              <a:spLocks/>
            </p:cNvSpPr>
            <p:nvPr/>
          </p:nvSpPr>
          <p:spPr bwMode="auto">
            <a:xfrm>
              <a:off x="2663306" y="4159613"/>
              <a:ext cx="305457" cy="29658"/>
            </a:xfrm>
            <a:custGeom>
              <a:avLst/>
              <a:gdLst>
                <a:gd name="T0" fmla="*/ 18380 w 304800"/>
                <a:gd name="T1" fmla="*/ 1109598 h 28575"/>
                <a:gd name="T2" fmla="*/ 373743 w 304800"/>
                <a:gd name="T3" fmla="*/ 1109598 h 28575"/>
                <a:gd name="T4" fmla="*/ 0 60000 65536"/>
                <a:gd name="T5" fmla="*/ 0 60000 65536"/>
                <a:gd name="T6" fmla="*/ 0 w 304800"/>
                <a:gd name="T7" fmla="*/ 0 h 28575"/>
                <a:gd name="T8" fmla="*/ 304800 w 304800"/>
                <a:gd name="T9" fmla="*/ 28575 h 2857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304800" h="28575">
                  <a:moveTo>
                    <a:pt x="14288" y="14288"/>
                  </a:moveTo>
                  <a:lnTo>
                    <a:pt x="290513" y="14288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: Shape 139"/>
            <p:cNvSpPr>
              <a:spLocks/>
            </p:cNvSpPr>
            <p:nvPr/>
          </p:nvSpPr>
          <p:spPr bwMode="auto">
            <a:xfrm>
              <a:off x="2788116" y="4131516"/>
              <a:ext cx="65690" cy="57755"/>
            </a:xfrm>
            <a:custGeom>
              <a:avLst/>
              <a:gdLst>
                <a:gd name="T0" fmla="*/ 2506 w 66675"/>
                <a:gd name="T1" fmla="*/ 48992 h 57150"/>
                <a:gd name="T2" fmla="*/ 9183 w 66675"/>
                <a:gd name="T3" fmla="*/ 48992 h 57150"/>
                <a:gd name="T4" fmla="*/ 9183 w 66675"/>
                <a:gd name="T5" fmla="*/ 146942 h 57150"/>
                <a:gd name="T6" fmla="*/ 0 60000 65536"/>
                <a:gd name="T7" fmla="*/ 0 60000 65536"/>
                <a:gd name="T8" fmla="*/ 0 60000 65536"/>
                <a:gd name="T9" fmla="*/ 0 w 66675"/>
                <a:gd name="T10" fmla="*/ 0 h 57150"/>
                <a:gd name="T11" fmla="*/ 66675 w 6667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75" h="57150">
                  <a:moveTo>
                    <a:pt x="14288" y="14288"/>
                  </a:moveTo>
                  <a:lnTo>
                    <a:pt x="52388" y="14288"/>
                  </a:lnTo>
                  <a:lnTo>
                    <a:pt x="52388" y="42863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: Shape 140"/>
            <p:cNvSpPr>
              <a:spLocks/>
            </p:cNvSpPr>
            <p:nvPr/>
          </p:nvSpPr>
          <p:spPr bwMode="auto">
            <a:xfrm>
              <a:off x="2863659" y="4017566"/>
              <a:ext cx="85397" cy="171705"/>
            </a:xfrm>
            <a:custGeom>
              <a:avLst/>
              <a:gdLst>
                <a:gd name="T0" fmla="*/ 9126 w 85725"/>
                <a:gd name="T1" fmla="*/ 187011 h 171450"/>
                <a:gd name="T2" fmla="*/ 9126 w 85725"/>
                <a:gd name="T3" fmla="*/ 153011 h 171450"/>
                <a:gd name="T4" fmla="*/ 33454 w 85725"/>
                <a:gd name="T5" fmla="*/ 153011 h 171450"/>
                <a:gd name="T6" fmla="*/ 45621 w 85725"/>
                <a:gd name="T7" fmla="*/ 153011 h 171450"/>
                <a:gd name="T8" fmla="*/ 45621 w 85725"/>
                <a:gd name="T9" fmla="*/ 17002 h 171450"/>
                <a:gd name="T10" fmla="*/ 15205 w 85725"/>
                <a:gd name="T11" fmla="*/ 17002 h 1714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5725"/>
                <a:gd name="T19" fmla="*/ 0 h 171450"/>
                <a:gd name="T20" fmla="*/ 85725 w 85725"/>
                <a:gd name="T21" fmla="*/ 171450 h 1714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5725" h="171450">
                  <a:moveTo>
                    <a:pt x="14288" y="157163"/>
                  </a:moveTo>
                  <a:lnTo>
                    <a:pt x="14288" y="128588"/>
                  </a:lnTo>
                  <a:lnTo>
                    <a:pt x="52388" y="128588"/>
                  </a:lnTo>
                  <a:lnTo>
                    <a:pt x="71438" y="128588"/>
                  </a:lnTo>
                  <a:lnTo>
                    <a:pt x="71438" y="14288"/>
                  </a:lnTo>
                  <a:lnTo>
                    <a:pt x="23813" y="14288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: Shape 141"/>
            <p:cNvSpPr>
              <a:spLocks/>
            </p:cNvSpPr>
            <p:nvPr/>
          </p:nvSpPr>
          <p:spPr bwMode="auto">
            <a:xfrm>
              <a:off x="2835742" y="3931714"/>
              <a:ext cx="75543" cy="190436"/>
            </a:xfrm>
            <a:custGeom>
              <a:avLst/>
              <a:gdLst>
                <a:gd name="T0" fmla="*/ 15560 w 76200"/>
                <a:gd name="T1" fmla="*/ 169421 h 190500"/>
                <a:gd name="T2" fmla="*/ 5186 w 76200"/>
                <a:gd name="T3" fmla="*/ 169421 h 190500"/>
                <a:gd name="T4" fmla="*/ 5186 w 76200"/>
                <a:gd name="T5" fmla="*/ 13703 h 190500"/>
                <a:gd name="T6" fmla="*/ 15560 w 76200"/>
                <a:gd name="T7" fmla="*/ 13703 h 190500"/>
                <a:gd name="T8" fmla="*/ 22479 w 76200"/>
                <a:gd name="T9" fmla="*/ 32051 h 190500"/>
                <a:gd name="T10" fmla="*/ 22479 w 76200"/>
                <a:gd name="T11" fmla="*/ 151104 h 190500"/>
                <a:gd name="T12" fmla="*/ 15560 w 76200"/>
                <a:gd name="T13" fmla="*/ 169421 h 1905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6200"/>
                <a:gd name="T22" fmla="*/ 0 h 190500"/>
                <a:gd name="T23" fmla="*/ 76200 w 76200"/>
                <a:gd name="T24" fmla="*/ 190500 h 1905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6200" h="190500">
                  <a:moveTo>
                    <a:pt x="42863" y="176213"/>
                  </a:moveTo>
                  <a:lnTo>
                    <a:pt x="14288" y="176213"/>
                  </a:lnTo>
                  <a:lnTo>
                    <a:pt x="14288" y="14288"/>
                  </a:lnTo>
                  <a:lnTo>
                    <a:pt x="42863" y="14288"/>
                  </a:lnTo>
                  <a:cubicBezTo>
                    <a:pt x="53340" y="14288"/>
                    <a:pt x="61913" y="22860"/>
                    <a:pt x="61913" y="33338"/>
                  </a:cubicBezTo>
                  <a:lnTo>
                    <a:pt x="61913" y="157163"/>
                  </a:lnTo>
                  <a:cubicBezTo>
                    <a:pt x="61913" y="167640"/>
                    <a:pt x="53340" y="176213"/>
                    <a:pt x="42863" y="176213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: Shape 142"/>
            <p:cNvSpPr>
              <a:spLocks/>
            </p:cNvSpPr>
            <p:nvPr/>
          </p:nvSpPr>
          <p:spPr bwMode="auto">
            <a:xfrm>
              <a:off x="2625535" y="4303221"/>
              <a:ext cx="29560" cy="76486"/>
            </a:xfrm>
            <a:custGeom>
              <a:avLst/>
              <a:gdLst>
                <a:gd name="T0" fmla="*/ 753342 w 28575"/>
                <a:gd name="T1" fmla="*/ 22147 h 76200"/>
                <a:gd name="T2" fmla="*/ 753342 w 28575"/>
                <a:gd name="T3" fmla="*/ 95969 h 76200"/>
                <a:gd name="T4" fmla="*/ 0 60000 65536"/>
                <a:gd name="T5" fmla="*/ 0 60000 65536"/>
                <a:gd name="T6" fmla="*/ 0 w 28575"/>
                <a:gd name="T7" fmla="*/ 0 h 76200"/>
                <a:gd name="T8" fmla="*/ 28575 w 28575"/>
                <a:gd name="T9" fmla="*/ 76200 h 7620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8575" h="76200">
                  <a:moveTo>
                    <a:pt x="14288" y="14288"/>
                  </a:moveTo>
                  <a:lnTo>
                    <a:pt x="14288" y="61913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: Shape 143"/>
            <p:cNvSpPr>
              <a:spLocks/>
            </p:cNvSpPr>
            <p:nvPr/>
          </p:nvSpPr>
          <p:spPr bwMode="auto">
            <a:xfrm>
              <a:off x="2577909" y="4064395"/>
              <a:ext cx="220061" cy="334044"/>
            </a:xfrm>
            <a:custGeom>
              <a:avLst/>
              <a:gdLst>
                <a:gd name="T0" fmla="*/ 330216 w 219075"/>
                <a:gd name="T1" fmla="*/ 403438 h 333375"/>
                <a:gd name="T2" fmla="*/ 233569 w 219075"/>
                <a:gd name="T3" fmla="*/ 270965 h 333375"/>
                <a:gd name="T4" fmla="*/ 120810 w 219075"/>
                <a:gd name="T5" fmla="*/ 270965 h 333375"/>
                <a:gd name="T6" fmla="*/ 24162 w 219075"/>
                <a:gd name="T7" fmla="*/ 198709 h 333375"/>
                <a:gd name="T8" fmla="*/ 24162 w 219075"/>
                <a:gd name="T9" fmla="*/ 66235 h 333375"/>
                <a:gd name="T10" fmla="*/ 88592 w 219075"/>
                <a:gd name="T11" fmla="*/ 18066 h 333375"/>
                <a:gd name="T12" fmla="*/ 153036 w 219075"/>
                <a:gd name="T13" fmla="*/ 18066 h 333375"/>
                <a:gd name="T14" fmla="*/ 265784 w 219075"/>
                <a:gd name="T15" fmla="*/ 78281 h 333375"/>
                <a:gd name="T16" fmla="*/ 346325 w 219075"/>
                <a:gd name="T17" fmla="*/ 78281 h 333375"/>
                <a:gd name="T18" fmla="*/ 281895 w 219075"/>
                <a:gd name="T19" fmla="*/ 138492 h 333375"/>
                <a:gd name="T20" fmla="*/ 217463 w 219075"/>
                <a:gd name="T21" fmla="*/ 138492 h 333375"/>
                <a:gd name="T22" fmla="*/ 120810 w 219075"/>
                <a:gd name="T23" fmla="*/ 90323 h 3333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9075"/>
                <a:gd name="T37" fmla="*/ 0 h 333375"/>
                <a:gd name="T38" fmla="*/ 219075 w 219075"/>
                <a:gd name="T39" fmla="*/ 333375 h 33337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9075" h="333375">
                  <a:moveTo>
                    <a:pt x="195263" y="319088"/>
                  </a:moveTo>
                  <a:lnTo>
                    <a:pt x="138113" y="214313"/>
                  </a:lnTo>
                  <a:lnTo>
                    <a:pt x="71438" y="214313"/>
                  </a:lnTo>
                  <a:cubicBezTo>
                    <a:pt x="39910" y="214313"/>
                    <a:pt x="14288" y="188690"/>
                    <a:pt x="14288" y="157163"/>
                  </a:cubicBezTo>
                  <a:lnTo>
                    <a:pt x="14288" y="52388"/>
                  </a:lnTo>
                  <a:cubicBezTo>
                    <a:pt x="14288" y="31337"/>
                    <a:pt x="31337" y="14288"/>
                    <a:pt x="52388" y="14288"/>
                  </a:cubicBezTo>
                  <a:lnTo>
                    <a:pt x="90488" y="14288"/>
                  </a:lnTo>
                  <a:lnTo>
                    <a:pt x="157163" y="61913"/>
                  </a:lnTo>
                  <a:lnTo>
                    <a:pt x="204788" y="61913"/>
                  </a:lnTo>
                  <a:cubicBezTo>
                    <a:pt x="204788" y="61913"/>
                    <a:pt x="210217" y="109538"/>
                    <a:pt x="166688" y="109538"/>
                  </a:cubicBezTo>
                  <a:cubicBezTo>
                    <a:pt x="141256" y="109538"/>
                    <a:pt x="128588" y="109538"/>
                    <a:pt x="128588" y="109538"/>
                  </a:cubicBezTo>
                  <a:lnTo>
                    <a:pt x="71438" y="71438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144"/>
            <p:cNvSpPr>
              <a:spLocks/>
            </p:cNvSpPr>
            <p:nvPr/>
          </p:nvSpPr>
          <p:spPr bwMode="auto">
            <a:xfrm>
              <a:off x="2663306" y="4140882"/>
              <a:ext cx="162583" cy="257557"/>
            </a:xfrm>
            <a:custGeom>
              <a:avLst/>
              <a:gdLst>
                <a:gd name="T0" fmla="*/ 22962 w 161925"/>
                <a:gd name="T1" fmla="*/ 16998 h 257175"/>
                <a:gd name="T2" fmla="*/ 22962 w 161925"/>
                <a:gd name="T3" fmla="*/ 84985 h 257175"/>
                <a:gd name="T4" fmla="*/ 99505 w 161925"/>
                <a:gd name="T5" fmla="*/ 84985 h 257175"/>
                <a:gd name="T6" fmla="*/ 171764 w 161925"/>
                <a:gd name="T7" fmla="*/ 122946 h 257175"/>
                <a:gd name="T8" fmla="*/ 245705 w 161925"/>
                <a:gd name="T9" fmla="*/ 288953 h 25717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925"/>
                <a:gd name="T16" fmla="*/ 0 h 257175"/>
                <a:gd name="T17" fmla="*/ 161925 w 161925"/>
                <a:gd name="T18" fmla="*/ 257175 h 25717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925" h="257175">
                  <a:moveTo>
                    <a:pt x="14288" y="14288"/>
                  </a:moveTo>
                  <a:lnTo>
                    <a:pt x="14288" y="71438"/>
                  </a:lnTo>
                  <a:lnTo>
                    <a:pt x="61913" y="71438"/>
                  </a:lnTo>
                  <a:cubicBezTo>
                    <a:pt x="82105" y="71438"/>
                    <a:pt x="100203" y="84201"/>
                    <a:pt x="106871" y="103346"/>
                  </a:cubicBezTo>
                  <a:lnTo>
                    <a:pt x="152876" y="242888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: Shape 145"/>
            <p:cNvSpPr>
              <a:spLocks/>
            </p:cNvSpPr>
            <p:nvPr/>
          </p:nvSpPr>
          <p:spPr bwMode="auto">
            <a:xfrm>
              <a:off x="2540138" y="4084688"/>
              <a:ext cx="170793" cy="246631"/>
            </a:xfrm>
            <a:custGeom>
              <a:avLst/>
              <a:gdLst>
                <a:gd name="T0" fmla="*/ 9119 w 171450"/>
                <a:gd name="T1" fmla="*/ 8820 h 247650"/>
                <a:gd name="T2" fmla="*/ 9119 w 171450"/>
                <a:gd name="T3" fmla="*/ 97014 h 247650"/>
                <a:gd name="T4" fmla="*/ 57745 w 171450"/>
                <a:gd name="T5" fmla="*/ 144050 h 247650"/>
                <a:gd name="T6" fmla="*/ 100288 w 171450"/>
                <a:gd name="T7" fmla="*/ 144050 h 2476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1450"/>
                <a:gd name="T13" fmla="*/ 0 h 247650"/>
                <a:gd name="T14" fmla="*/ 171450 w 171450"/>
                <a:gd name="T15" fmla="*/ 247650 h 2476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1450" h="247650">
                  <a:moveTo>
                    <a:pt x="14288" y="14288"/>
                  </a:moveTo>
                  <a:lnTo>
                    <a:pt x="14288" y="157163"/>
                  </a:lnTo>
                  <a:cubicBezTo>
                    <a:pt x="14288" y="199263"/>
                    <a:pt x="48387" y="233363"/>
                    <a:pt x="90488" y="233363"/>
                  </a:cubicBezTo>
                  <a:lnTo>
                    <a:pt x="157163" y="233363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: Shape 146"/>
            <p:cNvSpPr>
              <a:spLocks/>
            </p:cNvSpPr>
            <p:nvPr/>
          </p:nvSpPr>
          <p:spPr bwMode="auto">
            <a:xfrm>
              <a:off x="2540138" y="4198637"/>
              <a:ext cx="123168" cy="56194"/>
            </a:xfrm>
            <a:custGeom>
              <a:avLst/>
              <a:gdLst>
                <a:gd name="T0" fmla="*/ 7667 w 123825"/>
                <a:gd name="T1" fmla="*/ 1985 h 57150"/>
                <a:gd name="T2" fmla="*/ 48557 w 123825"/>
                <a:gd name="T3" fmla="*/ 1985 h 57150"/>
                <a:gd name="T4" fmla="*/ 58783 w 123825"/>
                <a:gd name="T5" fmla="*/ 5957 h 57150"/>
                <a:gd name="T6" fmla="*/ 0 60000 65536"/>
                <a:gd name="T7" fmla="*/ 0 60000 65536"/>
                <a:gd name="T8" fmla="*/ 0 60000 65536"/>
                <a:gd name="T9" fmla="*/ 0 w 123825"/>
                <a:gd name="T10" fmla="*/ 0 h 57150"/>
                <a:gd name="T11" fmla="*/ 123825 w 12382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3825" h="57150">
                  <a:moveTo>
                    <a:pt x="14288" y="14288"/>
                  </a:moveTo>
                  <a:lnTo>
                    <a:pt x="90488" y="14288"/>
                  </a:lnTo>
                  <a:lnTo>
                    <a:pt x="109538" y="42863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: Shape 147"/>
            <p:cNvSpPr>
              <a:spLocks/>
            </p:cNvSpPr>
            <p:nvPr/>
          </p:nvSpPr>
          <p:spPr bwMode="auto">
            <a:xfrm>
              <a:off x="2568056" y="4350050"/>
              <a:ext cx="142876" cy="48389"/>
            </a:xfrm>
            <a:custGeom>
              <a:avLst/>
              <a:gdLst>
                <a:gd name="T0" fmla="*/ 128705 w 142875"/>
                <a:gd name="T1" fmla="*/ 214571 h 47625"/>
                <a:gd name="T2" fmla="*/ 109655 w 142875"/>
                <a:gd name="T3" fmla="*/ 214571 h 47625"/>
                <a:gd name="T4" fmla="*/ 90605 w 142875"/>
                <a:gd name="T5" fmla="*/ 214571 h 47625"/>
                <a:gd name="T6" fmla="*/ 71555 w 142875"/>
                <a:gd name="T7" fmla="*/ 91951 h 47625"/>
                <a:gd name="T8" fmla="*/ 52388 w 142875"/>
                <a:gd name="T9" fmla="*/ 214571 h 47625"/>
                <a:gd name="T10" fmla="*/ 33338 w 142875"/>
                <a:gd name="T11" fmla="*/ 214571 h 47625"/>
                <a:gd name="T12" fmla="*/ 14288 w 142875"/>
                <a:gd name="T13" fmla="*/ 214571 h 476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2875"/>
                <a:gd name="T22" fmla="*/ 0 h 47625"/>
                <a:gd name="T23" fmla="*/ 142875 w 142875"/>
                <a:gd name="T24" fmla="*/ 47625 h 476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2875" h="47625">
                  <a:moveTo>
                    <a:pt x="128588" y="33338"/>
                  </a:moveTo>
                  <a:lnTo>
                    <a:pt x="109538" y="33338"/>
                  </a:lnTo>
                  <a:lnTo>
                    <a:pt x="90488" y="33338"/>
                  </a:lnTo>
                  <a:lnTo>
                    <a:pt x="71438" y="14288"/>
                  </a:lnTo>
                  <a:lnTo>
                    <a:pt x="52388" y="33338"/>
                  </a:lnTo>
                  <a:lnTo>
                    <a:pt x="33338" y="33338"/>
                  </a:lnTo>
                  <a:lnTo>
                    <a:pt x="14288" y="33338"/>
                  </a:lnTo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: Shape 148"/>
            <p:cNvSpPr>
              <a:spLocks/>
            </p:cNvSpPr>
            <p:nvPr/>
          </p:nvSpPr>
          <p:spPr bwMode="auto">
            <a:xfrm>
              <a:off x="2587763" y="3941080"/>
              <a:ext cx="114957" cy="123315"/>
            </a:xfrm>
            <a:custGeom>
              <a:avLst/>
              <a:gdLst>
                <a:gd name="T0" fmla="*/ 111756 w 114300"/>
                <a:gd name="T1" fmla="*/ 67643 h 123825"/>
                <a:gd name="T2" fmla="*/ 195573 w 114300"/>
                <a:gd name="T3" fmla="*/ 42435 h 123825"/>
                <a:gd name="T4" fmla="*/ 195573 w 114300"/>
                <a:gd name="T5" fmla="*/ 34027 h 123825"/>
                <a:gd name="T6" fmla="*/ 111756 w 114300"/>
                <a:gd name="T7" fmla="*/ 8816 h 123825"/>
                <a:gd name="T8" fmla="*/ 27942 w 114300"/>
                <a:gd name="T9" fmla="*/ 34027 h 123825"/>
                <a:gd name="T10" fmla="*/ 27942 w 114300"/>
                <a:gd name="T11" fmla="*/ 42435 h 123825"/>
                <a:gd name="T12" fmla="*/ 111756 w 114300"/>
                <a:gd name="T13" fmla="*/ 67643 h 1238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4300"/>
                <a:gd name="T22" fmla="*/ 0 h 123825"/>
                <a:gd name="T23" fmla="*/ 114300 w 114300"/>
                <a:gd name="T24" fmla="*/ 123825 h 1238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4300" h="123825">
                  <a:moveTo>
                    <a:pt x="57150" y="109633"/>
                  </a:moveTo>
                  <a:cubicBezTo>
                    <a:pt x="81058" y="109633"/>
                    <a:pt x="100013" y="91345"/>
                    <a:pt x="100013" y="68771"/>
                  </a:cubicBezTo>
                  <a:lnTo>
                    <a:pt x="100013" y="55150"/>
                  </a:lnTo>
                  <a:cubicBezTo>
                    <a:pt x="100013" y="32575"/>
                    <a:pt x="81058" y="14288"/>
                    <a:pt x="57150" y="14288"/>
                  </a:cubicBezTo>
                  <a:cubicBezTo>
                    <a:pt x="33242" y="14288"/>
                    <a:pt x="14288" y="32575"/>
                    <a:pt x="14288" y="55150"/>
                  </a:cubicBezTo>
                  <a:lnTo>
                    <a:pt x="14288" y="68771"/>
                  </a:lnTo>
                  <a:cubicBezTo>
                    <a:pt x="14288" y="91345"/>
                    <a:pt x="33242" y="109633"/>
                    <a:pt x="57150" y="109633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606EB129-3A33-4152-B11D-3E424B9B6E46}"/>
              </a:ext>
            </a:extLst>
          </p:cNvPr>
          <p:cNvCxnSpPr>
            <a:cxnSpLocks/>
          </p:cNvCxnSpPr>
          <p:nvPr/>
        </p:nvCxnSpPr>
        <p:spPr>
          <a:xfrm>
            <a:off x="1343327" y="4403826"/>
            <a:ext cx="9565465" cy="12781"/>
          </a:xfrm>
          <a:prstGeom prst="line">
            <a:avLst/>
          </a:prstGeom>
          <a:ln>
            <a:solidFill>
              <a:srgbClr val="2488A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4889686F-36A1-4D4F-94AF-F8C98694E252}"/>
              </a:ext>
            </a:extLst>
          </p:cNvPr>
          <p:cNvSpPr txBox="1"/>
          <p:nvPr/>
        </p:nvSpPr>
        <p:spPr>
          <a:xfrm>
            <a:off x="11268064" y="221338"/>
            <a:ext cx="531883" cy="307777"/>
          </a:xfrm>
          <a:prstGeom prst="rect">
            <a:avLst/>
          </a:prstGeom>
          <a:solidFill>
            <a:srgbClr val="3AB09E"/>
          </a:solidFill>
        </p:spPr>
        <p:txBody>
          <a:bodyPr wrap="square">
            <a:spAutoFit/>
          </a:bodyPr>
          <a:lstStyle/>
          <a:p>
            <a:pPr marL="180975" indent="0" algn="l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1" name="Заголовок 1">
            <a:extLst>
              <a:ext uri="{FF2B5EF4-FFF2-40B4-BE49-F238E27FC236}">
                <a16:creationId xmlns:a16="http://schemas.microsoft.com/office/drawing/2014/main" id="{658E2395-81AD-4509-AC78-2CF6C573D967}"/>
              </a:ext>
            </a:extLst>
          </p:cNvPr>
          <p:cNvSpPr txBox="1">
            <a:spLocks/>
          </p:cNvSpPr>
          <p:nvPr/>
        </p:nvSpPr>
        <p:spPr>
          <a:xfrm>
            <a:off x="494705" y="289308"/>
            <a:ext cx="11224960" cy="520317"/>
          </a:xfrm>
          <a:prstGeom prst="rect">
            <a:avLst/>
          </a:prstGeom>
          <a:solidFill>
            <a:srgbClr val="00669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just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по развитию национальной системы квалификаций</a:t>
            </a:r>
          </a:p>
        </p:txBody>
      </p:sp>
      <p:sp>
        <p:nvSpPr>
          <p:cNvPr id="56" name="Номер слайда 1">
            <a:extLst>
              <a:ext uri="{FF2B5EF4-FFF2-40B4-BE49-F238E27FC236}">
                <a16:creationId xmlns:a16="http://schemas.microsoft.com/office/drawing/2014/main" id="{D9E93439-ADDE-416B-9D8B-252DD84D8C44}"/>
              </a:ext>
            </a:extLst>
          </p:cNvPr>
          <p:cNvSpPr txBox="1">
            <a:spLocks/>
          </p:cNvSpPr>
          <p:nvPr/>
        </p:nvSpPr>
        <p:spPr>
          <a:xfrm>
            <a:off x="11719665" y="6477605"/>
            <a:ext cx="415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40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6878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00&quot; g=&quot;66&quot; b=&quot;9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cBj_3OIKBFEqtlwqM_0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97ruEyHVm4zKIhjmZtV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Q86MFE4katKpYY7Bqc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rK6XRQxqQSJ0r_g4M.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.5wtPaRLm1zkhIh1LT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T2NSMVQbaKTNXZs4Ge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tUZjR4TDu0i7QuqqxvG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4QPj4FS7m0GkB08ry_0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enmnawRzEDPKjyieN9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4_P_41RbqiVveHodQS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_iXVjYHwu9Jy_yWR2Y6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oStJsSTC8cZdp3FQP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jUoLlMR461oM1GffGEd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qyHNbjQ2S4_rdEKbvN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gYmKV5DCa9BK8ElhD9K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GHSsZrc1tiVm9RG98Z3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Zt1BjzRTK08oTmyiv7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M.iAMbi.CVYoYk.DvD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.Nqz5ShawHOA3YuNZN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6jIrzPQoeF57F5Snh2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2.wekQ5u1WMjiqV6G2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x.925BSdaxWeDo99jm1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N9YTWuS9OX.YpsWdbc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4pzNhkQSGLv765bPSb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G4p2UL1aBrPSjM1Ykau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5IvuafWLh1cZURkxrWq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5WKg63JopCXGMwUquVL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eOnIL7jwSPNhLuZDJH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jLzycNBYHOqFZLbd8f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9gqz1vy1IGTAhPtGSiJ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sEemrzacmScqy2qD_ZA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dn_nriUaF43wWKoxnEa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RtMZWqMa1JPU6JBU5ag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sg5BwcITpEHbADmv1pf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65kXgMLIJPCibkdIRF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gFTGEweRph9sJpY5Jb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8VzjA8k5wAJZ9IJQEda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WF2yIow2QJS_SaYLJbE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pLEmzUjdnOqeNaZfSU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VTdE2fklW7Xc1.WNi7C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yMZDDPiO4edKBs10MLm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xbVEqn6gg6e21.AhJs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KasSn6s4If9GJh6XVa6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ornOgqudCzZzApKfggt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RJwmlAaxSeNnUwyDB4u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Eux76ABBIT02WFyXN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.0cNbei.fHBEH2b1wJ_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Mx1_xDifqsF7nE0ro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zePS6lJbF3aeORrkB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.rX7aPtMqVoTWQlDFQ1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bqvSMUslFG6XE.scQBS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mtEH.lXL1vcdr8fPqKs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cJ5EIJuD9MvC4iLI_h7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.Pz1ImX3b_O9xgUALKJ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GPOdCDTrkA0V.Fnwyz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4mPt__ofxFZDWC1_IJ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N4gXijPJuccHgaAPUuK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vuhlxvKvUetwawowA5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vIL2uXdITVF8rloDsL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Pj.AvSy0vYNX52_JhTD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C3YVL_Q21atZDsPyYcR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HaRMlGaNLCiSxqGrpJv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gZzon83Kjau6rqjbIt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g.GSlD0yk1AQKcN4osC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uuncuY9QEmn5dCDp0I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ybS.Z6SU7FGWDR33xAh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STzoWJbU143jqdZVtwE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MZks1FdcdTs5..Wuzcy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nva9XkLdN9KZ9OkSdf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.dIBedDl4BAwswpJy1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aLxp6kNr3CH7qTl2zA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1NaVGpBcPC.yyrZYkY0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H2r0SIToimEg6.Wivs5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97GROzv_HIGlkqxTbMm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KbjF_bUavjo12m0r20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BTf5uRDdOw5m6VKFLPG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h.Q7u8mz78iPd8AuuTl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B_4srF18pq8d_18rfA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EEvM_ilc9vhycQbSroX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7HKKDhMMif3ExG_YkeV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rJ4Vk.wkm2U7u6lrNa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ATO3XAadsztQlkb_JS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8hU.xv9rvtkoOuXc4HY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2n99ULm3eErU36iLG.F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wra8ePYx_vuku_zJ5FA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_j5vbwDNfsj2DeG9rN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Rppsk.ps8MAkKAqwJ8b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dSKG7yMz9VbhHWXdJH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HEhJGduqFYD.ttRzFca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8SH7acN_4f2gCQOjIPZ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3HCRScWwkxvkQPDn.RV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1Ojp3iZZgloNf81y2M.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amE65hGseBbqp2qcCv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XsD3_AYrFrrbr7pPi.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pmWfAAwM2PG7NGVQpRV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4V2B0ZZHoD7vpUKj2J5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uzagx.GAIR._9wdDXKW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SSJZO4nC0R7GFIVYB5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DMNOoq9pMU8FKmzOCj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QNv6bAT1FzHn3PfZHJk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pMe3UKetOAZkK_nvV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V5kJGJk3f7xjWisGM8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FxOdtluTN4BX3tgq_VG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W7EDT2k66Ud0eeC6vhm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KJ_dizhlRt7pFK8Lmd_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bECGK18Wj2SaBVclBb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IyE4K1GBPpyHUUPGqtW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AQAqGmuyBPJXKkiS_p_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v.sRG5TYGTUfv5eUrcR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f.ZejeMgVWvxGjwlzxv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eTNcaOVoSPrZxn.Oj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zfqYLSmn0T0S4hwIxTG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AHKpdU5M2tHJeXjvR0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DkIh2.K1cCbYJDXvBWQ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F6PisODSZH3M3hcOERH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KfQBuYceCaKDxG7saGv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ddwevY3Nnh.XYA8Bxsj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tTWRRGt6xzya5S00c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BirWwnIeQYBoCXeE9G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osGnuWWHFFs7qyfCqp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HhMPF8ixjNGBIUhyFw5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VcpED8O1Vlcitr8VE_z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wdDmGsm9ALA9HgO0_r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Dv11TsqvxrGQf72nXHH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qgzWhFXivrTZi4pLE4_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wY1KG4RreVAMBYTf4k7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xTvM2qcA5LOWlfwrX9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ltWfZN.CY7ZGanrJ6u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cyoaptNaDObYcTQQZsH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cZKFvjcVEkH1cnpVzz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4b9IXaajbFufIGGfjx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DclZd6suKJyiM99OGQ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sc.8YdV.dg6abd2Dpa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u0QpwSS.2aue5Q3cbgv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Obqt7e89aCpF0VxSUmX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3W.Hsy5hrgGYCXW6GEM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7jW6MGf_Hovxgiw_dF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oFD_41IBWIr0dsphr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jSHn.7MiZ_Y3E8RYChD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C7RL.0BR5ot.mHbhtn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7SWQAYINJKM__pJrXe9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5QLJJ.jhBek42takLXc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tjxdxlTTLGBsNL_gOhK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AbWbREUsfqZMni8Q3aL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rbCN1kQBlgEf.Dc29c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Q9MstDnfRpaL3uGoO1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zCcHcSjajfO26.OqW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PL3NMJrOPhh4BghM2c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JEr_z389tjxDCpX9wHO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LyuAqSC4jPXLMyKard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efVjyST8o8j8YKijVK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kSnVcQ0L6JZyJfS0VX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joNJKIZ7k3.6Y9r_Ps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NaqKGiMnsFqx7F9bsip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8tblxhQ9MNZMegJklK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2A.zkdWTt352W5HJ_cQ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ADAegaF4Kq_VO.i0bI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YuXyb1tZykwPvMrvNqs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hVurhGvt93uJ_qVtvQi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fJdh_8OZR9SbzO_rpPB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YNj9Fprr78fIyYxjK3H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.bfC1WTcwNvIt0AWP79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jMLOPuJMSwhmy61fkHA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qn4loJ_y0GYlngbPmEm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9CGDzWDXt95qpKZHbd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Qaxml_M1ckKPDcEP92F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Hi8PebcZvwEmNEvoNi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cGdspgkE1MLr_vbxTwT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Z3l0qzsblj5iAGxxsRW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5HcgdivcOdCxEJGI6cf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57TcTSlCd0iPenftWU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fNna4nof8J_qIFz05g7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DiJqBlQ123P91ygsiH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O7qDYZ_OzF5bLE8GMTA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CYSIBC7i0wAhT7cDF_a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gBW1jIJP9zxJ.r3z5cU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bVztbwkA46.08YJMwg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0_wGU8.278WYBRp8HTF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0S8GJZyvnONp5MYn4Ld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ACKNKJ8I3Wqr1Mw7Nx4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87LZEcFeT_xZ3eQhJb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iGYIv2rhHzD2QyfFIY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O4cYWTsnN.rF_QF_u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l3n8.jppiOrK3B75Qo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8.ordvfvVfHFpWW9Dwv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r0i7zsJ5Lg5GISspgQ4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kx0JkHzXw6RxEDtjRN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dxbSCjjx4vpqepyagmv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YB8U4rQzFzhLM3URSqN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1GwlrEyASLR.NiRNLKp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sCjLt.TbELleBNkN_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KCEYrUNfaEwyyMmA0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cprZZWyLE0G7KDtem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ch6KvUoGuOVQtn1jnLk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2JASoB9QrVflCx_BnHt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to_PSzB0pAd3QU8GLS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7eFNMcLN2VD9GsNcu_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XbUSQOb26_FtYPj.f7d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OZQc6osRQFpIElu.W6R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t8f4oPeco7rlNDCebiO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7coLSv51hniR7kFH9Jd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SruOfw4mCfKztjfB0T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Z4dc1D93OvknoPcTIg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mcNBBvFT1QROlDjqPd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ozrhNMGytIP8mgveYG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5GqpGrtB.T9qY5p45f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_azdsHcdsEgfkLzHhj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AEdZcjtU4MAU9KarWq6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EhL10YaSKjSKj1tAQnQ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dYlZJt0RgS5zy9_oLQl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ItTZwcXoMhT.2CfCONS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dK6lg3SiK0s0mch9lH.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CdQNiQMu_abRqI4Dr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3sKrFXAH9G6iLxBO.ld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XbPMYS4aaOR.OkSnD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YvjKDfSnSUL5GQMMBm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ZuZ.4WhIsVrIp8se6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EC4PfUshsDujdda2vx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sc5H3dQZWCai2OuMDf6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NI1uUKQNe1yEgw9IJXD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5</TotalTime>
  <Words>1252</Words>
  <Application>Microsoft Office PowerPoint</Application>
  <PresentationFormat>Широкоэкранный</PresentationFormat>
  <Paragraphs>397</Paragraphs>
  <Slides>1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Malgun Gothic</vt:lpstr>
      <vt:lpstr>Arial</vt:lpstr>
      <vt:lpstr>Arial Narrow</vt:lpstr>
      <vt:lpstr>Barlow Condensed</vt:lpstr>
      <vt:lpstr>Calibri</vt:lpstr>
      <vt:lpstr>Calibri Light</vt:lpstr>
      <vt:lpstr>Century Gothic</vt:lpstr>
      <vt:lpstr>Roboto</vt:lpstr>
      <vt:lpstr>Trebuchet MS</vt:lpstr>
      <vt:lpstr>Wingdings</vt:lpstr>
      <vt:lpstr>Тема Office</vt:lpstr>
      <vt:lpstr>2_KZ Labor Market Vision 2025 Grid A4</vt:lpstr>
      <vt:lpstr>Слайд think-cell</vt:lpstr>
      <vt:lpstr>О новых подходах по переобучению и постоянному совершенствованию навыков работни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азвитие навыков трудовых ресурсов по Нацпроекту Еңбек</vt:lpstr>
      <vt:lpstr>Презентация PowerPoint</vt:lpstr>
      <vt:lpstr>Национальная система квалификаций – это механизм, позволяющий регулировать спрос и предложение к квалификациям специалистов на рынке труда, а также позволяет обеспечить взаимодействие сфер образования и рынка тру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циональный проект «Еңбек»</dc:title>
  <dc:creator>Жукенов Женис</dc:creator>
  <cp:lastModifiedBy>Айжан М.Жапалбаева</cp:lastModifiedBy>
  <cp:revision>242</cp:revision>
  <cp:lastPrinted>2021-05-19T08:05:42Z</cp:lastPrinted>
  <dcterms:created xsi:type="dcterms:W3CDTF">2021-05-17T05:54:22Z</dcterms:created>
  <dcterms:modified xsi:type="dcterms:W3CDTF">2021-05-25T15:16:13Z</dcterms:modified>
</cp:coreProperties>
</file>